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0" r:id="rId1"/>
  </p:sldMasterIdLst>
  <p:notesMasterIdLst>
    <p:notesMasterId r:id="rId10"/>
  </p:notesMasterIdLst>
  <p:handoutMasterIdLst>
    <p:handoutMasterId r:id="rId11"/>
  </p:handoutMasterIdLst>
  <p:sldIdLst>
    <p:sldId id="754" r:id="rId2"/>
    <p:sldId id="755" r:id="rId3"/>
    <p:sldId id="760" r:id="rId4"/>
    <p:sldId id="762" r:id="rId5"/>
    <p:sldId id="741" r:id="rId6"/>
    <p:sldId id="756" r:id="rId7"/>
    <p:sldId id="757" r:id="rId8"/>
    <p:sldId id="763" r:id="rId9"/>
  </p:sldIdLst>
  <p:sldSz cx="9144000" cy="5143500" type="screen16x9"/>
  <p:notesSz cx="9939338" cy="6807200"/>
  <p:custDataLst>
    <p:tags r:id="rId1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05" userDrawn="1">
          <p15:clr>
            <a:srgbClr val="A4A3A4"/>
          </p15:clr>
        </p15:guide>
        <p15:guide id="2" orient="horz" pos="690" userDrawn="1">
          <p15:clr>
            <a:srgbClr val="A4A3A4"/>
          </p15:clr>
        </p15:guide>
        <p15:guide id="3" orient="horz" pos="3918">
          <p15:clr>
            <a:srgbClr val="A4A3A4"/>
          </p15:clr>
        </p15:guide>
        <p15:guide id="4" orient="horz" pos="4188">
          <p15:clr>
            <a:srgbClr val="A4A3A4"/>
          </p15:clr>
        </p15:guide>
        <p15:guide id="5" pos="226" userDrawn="1">
          <p15:clr>
            <a:srgbClr val="A4A3A4"/>
          </p15:clr>
        </p15:guide>
        <p15:guide id="6" pos="5624" userDrawn="1">
          <p15:clr>
            <a:srgbClr val="A4A3A4"/>
          </p15:clr>
        </p15:guide>
        <p15:guide id="7" pos="5759">
          <p15:clr>
            <a:srgbClr val="A4A3A4"/>
          </p15:clr>
        </p15:guide>
        <p15:guide id="8" pos="499" userDrawn="1">
          <p15:clr>
            <a:srgbClr val="A4A3A4"/>
          </p15:clr>
        </p15:guide>
        <p15:guide id="9" pos="876" userDrawn="1">
          <p15:clr>
            <a:srgbClr val="A4A3A4"/>
          </p15:clr>
        </p15:guide>
        <p15:guide id="10" orient="horz" pos="104">
          <p15:clr>
            <a:srgbClr val="A4A3A4"/>
          </p15:clr>
        </p15:guide>
        <p15:guide id="11" orient="horz" pos="608">
          <p15:clr>
            <a:srgbClr val="A4A3A4"/>
          </p15:clr>
        </p15:guide>
        <p15:guide id="12" orient="horz" pos="2142" userDrawn="1">
          <p15:clr>
            <a:srgbClr val="A4A3A4"/>
          </p15:clr>
        </p15:guide>
        <p15:guide id="13" orient="horz" pos="3162" userDrawn="1">
          <p15:clr>
            <a:srgbClr val="A4A3A4"/>
          </p15:clr>
        </p15:guide>
        <p15:guide id="14" pos="4924">
          <p15:clr>
            <a:srgbClr val="A4A3A4"/>
          </p15:clr>
        </p15:guide>
        <p15:guide id="15" pos="4822">
          <p15:clr>
            <a:srgbClr val="A4A3A4"/>
          </p15:clr>
        </p15:guide>
        <p15:guide id="16" orient="horz" pos="293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1972" userDrawn="1">
          <p15:clr>
            <a:srgbClr val="A4A3A4"/>
          </p15:clr>
        </p15:guide>
        <p15:guide id="2" pos="3154" userDrawn="1">
          <p15:clr>
            <a:srgbClr val="A4A3A4"/>
          </p15:clr>
        </p15:guide>
        <p15:guide id="3" orient="horz" pos="2144" userDrawn="1">
          <p15:clr>
            <a:srgbClr val="A4A3A4"/>
          </p15:clr>
        </p15:guide>
        <p15:guide id="4" pos="313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D7C"/>
    <a:srgbClr val="FFFFFF"/>
    <a:srgbClr val="004954"/>
    <a:srgbClr val="007180"/>
    <a:srgbClr val="006F7F"/>
    <a:srgbClr val="00616E"/>
    <a:srgbClr val="007484"/>
    <a:srgbClr val="0091A5"/>
    <a:srgbClr val="005763"/>
    <a:srgbClr val="00718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996" autoAdjust="0"/>
    <p:restoredTop sz="88946" autoAdjust="0"/>
  </p:normalViewPr>
  <p:slideViewPr>
    <p:cSldViewPr snapToGrid="0" snapToObjects="1" showGuides="1">
      <p:cViewPr>
        <p:scale>
          <a:sx n="150" d="100"/>
          <a:sy n="150" d="100"/>
        </p:scale>
        <p:origin x="-504" y="-222"/>
      </p:cViewPr>
      <p:guideLst>
        <p:guide orient="horz" pos="305"/>
        <p:guide orient="horz" pos="690"/>
        <p:guide orient="horz" pos="3918"/>
        <p:guide orient="horz" pos="4188"/>
        <p:guide orient="horz" pos="104"/>
        <p:guide orient="horz" pos="608"/>
        <p:guide orient="horz" pos="2142"/>
        <p:guide orient="horz" pos="3162"/>
        <p:guide orient="horz" pos="2935"/>
        <p:guide pos="226"/>
        <p:guide pos="5624"/>
        <p:guide pos="5759"/>
        <p:guide pos="499"/>
        <p:guide pos="876"/>
        <p:guide pos="4924"/>
        <p:guide pos="48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1170"/>
    </p:cViewPr>
  </p:sorterViewPr>
  <p:notesViewPr>
    <p:cSldViewPr snapToGrid="0" snapToObjects="1" showGuides="1">
      <p:cViewPr varScale="1">
        <p:scale>
          <a:sx n="82" d="100"/>
          <a:sy n="82" d="100"/>
        </p:scale>
        <p:origin x="-3180" y="-96"/>
      </p:cViewPr>
      <p:guideLst>
        <p:guide orient="horz" pos="1972"/>
        <p:guide orient="horz" pos="2144"/>
        <p:guide pos="3154"/>
        <p:guide pos="313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7047" cy="3403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9992" y="0"/>
            <a:ext cx="4307047" cy="3403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A960B2-A5C1-43A5-97FF-B6E8302B8F3F}" type="datetimeFigureOut">
              <a:rPr lang="de-DE" smtClean="0"/>
              <a:t>13.05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6465659"/>
            <a:ext cx="4307047" cy="3403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9992" y="6465659"/>
            <a:ext cx="4307047" cy="3403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63479C7-7ADB-4808-9235-6484CAEB8ED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3881420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7047" cy="34154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9992" y="0"/>
            <a:ext cx="4307047" cy="34154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0710C9-FE5E-4BBD-997C-1850EB479084}" type="datetimeFigureOut">
              <a:rPr lang="de-DE" smtClean="0"/>
              <a:t>13.05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927350" y="850900"/>
            <a:ext cx="4084638" cy="22971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3934" y="3275965"/>
            <a:ext cx="7951470" cy="268033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6465659"/>
            <a:ext cx="4307047" cy="34154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9992" y="6465659"/>
            <a:ext cx="4307047" cy="34154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D0E59C-A1CD-4B3B-825E-331B59F2F74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23070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Titelfolie mit Vortragsinfo, Bild austauschba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D0E59C-A1CD-4B3B-825E-331B59F2F74A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90085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600" dirty="0"/>
              <a:t>Texte von agile optimierung.d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D0E59C-A1CD-4B3B-825E-331B59F2F74A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13937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600" dirty="0"/>
              <a:t>Texte von agile optimierung.d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D0E59C-A1CD-4B3B-825E-331B59F2F74A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13937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600" dirty="0"/>
              <a:t>Texte von agile optimierung.d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D0E59C-A1CD-4B3B-825E-331B59F2F74A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13937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600" dirty="0"/>
              <a:t>Texte von agile optimierung.d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D0E59C-A1CD-4B3B-825E-331B59F2F74A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69172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600" dirty="0"/>
              <a:t>Texte von agile optimierung.d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D0E59C-A1CD-4B3B-825E-331B59F2F74A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13937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600" dirty="0"/>
              <a:t>Texte von agile optimierung.d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D0E59C-A1CD-4B3B-825E-331B59F2F74A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13937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600" dirty="0"/>
              <a:t>Texte von agile optimierung.d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D0E59C-A1CD-4B3B-825E-331B59F2F74A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69172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5C549A9E-72E4-453D-A969-18030D094C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42874" y="160807"/>
            <a:ext cx="7843838" cy="408888"/>
          </a:xfrm>
          <a:prstGeom prst="parallelogram">
            <a:avLst/>
          </a:prstGeom>
          <a:solidFill>
            <a:srgbClr val="FFFFFF">
              <a:alpha val="78039"/>
            </a:srgbClr>
          </a:solidFill>
        </p:spPr>
        <p:txBody>
          <a:bodyPr anchor="ctr"/>
          <a:lstStyle>
            <a:lvl1pPr algn="r"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4" name="Textplatzhalter 9">
            <a:extLst>
              <a:ext uri="{FF2B5EF4-FFF2-40B4-BE49-F238E27FC236}">
                <a16:creationId xmlns:a16="http://schemas.microsoft.com/office/drawing/2014/main" xmlns="" id="{7354D325-36B6-4393-9937-7DD8A6F5FD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24281" y="811213"/>
            <a:ext cx="8268027" cy="3854450"/>
          </a:xfrm>
        </p:spPr>
        <p:txBody>
          <a:bodyPr/>
          <a:lstStyle>
            <a:lvl1pPr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Aft>
                <a:spcPts val="300"/>
              </a:spcAft>
              <a:defRPr sz="11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spcAft>
                <a:spcPts val="300"/>
              </a:spcAft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02003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pos="272" userDrawn="1">
          <p15:clr>
            <a:srgbClr val="FBAE40"/>
          </p15:clr>
        </p15:guide>
        <p15:guide id="4" orient="horz" pos="509" userDrawn="1">
          <p15:clr>
            <a:srgbClr val="FBAE40"/>
          </p15:clr>
        </p15:guide>
        <p15:guide id="5" orient="horz" pos="2935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xmlns="" id="{BEE4C139-A0E8-4CD8-861F-728341978709}"/>
              </a:ext>
            </a:extLst>
          </p:cNvPr>
          <p:cNvSpPr/>
          <p:nvPr userDrawn="1"/>
        </p:nvSpPr>
        <p:spPr>
          <a:xfrm>
            <a:off x="-57150" y="0"/>
            <a:ext cx="9213851" cy="5143500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>
              <a:solidFill>
                <a:srgbClr val="344046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5C549A9E-72E4-453D-A969-18030D094C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42874" y="160807"/>
            <a:ext cx="7843838" cy="408888"/>
          </a:xfrm>
          <a:prstGeom prst="parallelogram">
            <a:avLst/>
          </a:prstGeom>
          <a:solidFill>
            <a:schemeClr val="accent1">
              <a:lumMod val="75000"/>
              <a:alpha val="78039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4" name="Textplatzhalter 9">
            <a:extLst>
              <a:ext uri="{FF2B5EF4-FFF2-40B4-BE49-F238E27FC236}">
                <a16:creationId xmlns:a16="http://schemas.microsoft.com/office/drawing/2014/main" xmlns="" id="{7354D325-36B6-4393-9937-7DD8A6F5FD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24282" y="957263"/>
            <a:ext cx="8290060" cy="3708399"/>
          </a:xfrm>
        </p:spPr>
        <p:txBody>
          <a:bodyPr/>
          <a:lstStyle>
            <a:lvl1pPr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Aft>
                <a:spcPts val="300"/>
              </a:spcAft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Aft>
                <a:spcPts val="300"/>
              </a:spcAft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xmlns="" id="{B4A9AF9E-2473-446B-A756-D2E26855994C}"/>
              </a:ext>
            </a:extLst>
          </p:cNvPr>
          <p:cNvSpPr txBox="1"/>
          <p:nvPr userDrawn="1"/>
        </p:nvSpPr>
        <p:spPr>
          <a:xfrm>
            <a:off x="350901" y="4724666"/>
            <a:ext cx="453768" cy="23504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fld id="{2B83B8FF-0937-4208-982A-9FA7A90CD738}" type="slidenum">
              <a:rPr lang="de-DE" sz="900" b="0" smtClean="0">
                <a:solidFill>
                  <a:srgbClr val="006D7C"/>
                </a:solidFill>
              </a:rPr>
              <a:t>‹Nr.›</a:t>
            </a:fld>
            <a:endParaRPr lang="de-DE" sz="900" b="0" dirty="0">
              <a:solidFill>
                <a:srgbClr val="006D7C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xmlns="" id="{FE5D3318-47EA-4144-9F00-D12AE5CF4D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4185" y="4608983"/>
            <a:ext cx="1189468" cy="424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8398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72">
          <p15:clr>
            <a:srgbClr val="FBAE40"/>
          </p15:clr>
        </p15:guide>
        <p15:guide id="4" orient="horz" pos="509">
          <p15:clr>
            <a:srgbClr val="FBAE40"/>
          </p15:clr>
        </p15:guide>
        <p15:guide id="5" orient="horz" pos="2935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xmlns="" id="{BEE4C139-A0E8-4CD8-861F-728341978709}"/>
              </a:ext>
            </a:extLst>
          </p:cNvPr>
          <p:cNvSpPr/>
          <p:nvPr userDrawn="1"/>
        </p:nvSpPr>
        <p:spPr>
          <a:xfrm>
            <a:off x="-57150" y="0"/>
            <a:ext cx="9213851" cy="5143500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>
              <a:solidFill>
                <a:srgbClr val="344046"/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xmlns="" id="{B4A9AF9E-2473-446B-A756-D2E26855994C}"/>
              </a:ext>
            </a:extLst>
          </p:cNvPr>
          <p:cNvSpPr txBox="1"/>
          <p:nvPr userDrawn="1"/>
        </p:nvSpPr>
        <p:spPr>
          <a:xfrm>
            <a:off x="350901" y="4724666"/>
            <a:ext cx="453768" cy="23504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fld id="{2B83B8FF-0937-4208-982A-9FA7A90CD738}" type="slidenum">
              <a:rPr lang="de-DE" sz="900" b="0" smtClean="0">
                <a:solidFill>
                  <a:srgbClr val="006D7C"/>
                </a:solidFill>
              </a:rPr>
              <a:t>‹Nr.›</a:t>
            </a:fld>
            <a:endParaRPr lang="de-DE" sz="900" b="0" dirty="0">
              <a:solidFill>
                <a:srgbClr val="006D7C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xmlns="" id="{FE5D3318-47EA-4144-9F00-D12AE5CF4D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4185" y="4608983"/>
            <a:ext cx="1189468" cy="424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7860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72">
          <p15:clr>
            <a:srgbClr val="FBAE40"/>
          </p15:clr>
        </p15:guide>
        <p15:guide id="4" orient="horz" pos="509">
          <p15:clr>
            <a:srgbClr val="FBAE40"/>
          </p15:clr>
        </p15:guide>
        <p15:guide id="5" orient="horz" pos="2935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5C549A9E-72E4-453D-A969-18030D094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>
            <a:lvl1pPr algn="ctr"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4" name="Textplatzhalter 9">
            <a:extLst>
              <a:ext uri="{FF2B5EF4-FFF2-40B4-BE49-F238E27FC236}">
                <a16:creationId xmlns:a16="http://schemas.microsoft.com/office/drawing/2014/main" xmlns="" id="{7354D325-36B6-4393-9937-7DD8A6F5FD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24282" y="811213"/>
            <a:ext cx="8505408" cy="3854450"/>
          </a:xfrm>
        </p:spPr>
        <p:txBody>
          <a:bodyPr/>
          <a:lstStyle>
            <a:lvl1pPr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Aft>
                <a:spcPts val="300"/>
              </a:spcAft>
              <a:defRPr sz="11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spcAft>
                <a:spcPts val="300"/>
              </a:spcAft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2910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ur Titel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578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xmlns="" id="{3F32DF54-F362-41C9-86DD-2571FFEFE4C2}"/>
              </a:ext>
            </a:extLst>
          </p:cNvPr>
          <p:cNvSpPr/>
          <p:nvPr/>
        </p:nvSpPr>
        <p:spPr>
          <a:xfrm>
            <a:off x="0" y="-986"/>
            <a:ext cx="9144000" cy="5143500"/>
          </a:xfrm>
          <a:prstGeom prst="rect">
            <a:avLst/>
          </a:prstGeom>
          <a:gradFill>
            <a:gsLst>
              <a:gs pos="0">
                <a:schemeClr val="accent1">
                  <a:lumMod val="50000"/>
                </a:schemeClr>
              </a:gs>
              <a:gs pos="98000">
                <a:schemeClr val="accent1"/>
              </a:gs>
            </a:gsLst>
            <a:lin ang="5400000" scaled="1"/>
          </a:gradFill>
          <a:ln w="9525">
            <a:solidFill>
              <a:srgbClr val="5A6E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de-DE" sz="1400" dirty="0">
              <a:solidFill>
                <a:srgbClr val="344046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214311" y="160807"/>
            <a:ext cx="8715375" cy="408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53543" y="797357"/>
            <a:ext cx="8260800" cy="386830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 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marL="1080000" marR="0" lvl="7" indent="-268288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pic>
        <p:nvPicPr>
          <p:cNvPr id="14" name="Picture 2">
            <a:extLst>
              <a:ext uri="{FF2B5EF4-FFF2-40B4-BE49-F238E27FC236}">
                <a16:creationId xmlns:a16="http://schemas.microsoft.com/office/drawing/2014/main" xmlns="" id="{AC62F0C0-8CCC-42ED-AA2B-745528AB16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50660" y="4605643"/>
            <a:ext cx="1172278" cy="4186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xmlns="" id="{DA66F0E4-D554-48AC-8EC0-1776E1C497AA}"/>
              </a:ext>
            </a:extLst>
          </p:cNvPr>
          <p:cNvSpPr txBox="1"/>
          <p:nvPr/>
        </p:nvSpPr>
        <p:spPr>
          <a:xfrm>
            <a:off x="350901" y="4724666"/>
            <a:ext cx="453768" cy="23504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fld id="{2B83B8FF-0937-4208-982A-9FA7A90CD738}" type="slidenum">
              <a:rPr lang="de-DE" sz="900" b="0" smtClean="0">
                <a:solidFill>
                  <a:srgbClr val="006D7C"/>
                </a:solidFill>
              </a:rPr>
              <a:t>‹Nr.›</a:t>
            </a:fld>
            <a:endParaRPr lang="de-DE" sz="900" b="0" dirty="0">
              <a:solidFill>
                <a:srgbClr val="006D7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5188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3" r:id="rId2"/>
    <p:sldLayoutId id="2147483754" r:id="rId3"/>
    <p:sldLayoutId id="2147483752" r:id="rId4"/>
    <p:sldLayoutId id="2147483750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spcBef>
          <a:spcPct val="0"/>
        </a:spcBef>
        <a:buNone/>
        <a:defRPr sz="16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bg1"/>
          </a:solidFill>
          <a:latin typeface="+mn-lt"/>
          <a:ea typeface="+mn-ea"/>
          <a:cs typeface="+mn-cs"/>
        </a:defRPr>
      </a:lvl1pPr>
      <a:lvl2pPr marL="271463" indent="-271463" algn="l" defTabSz="914400" rtl="0" eaLnBrk="1" latinLnBrk="0" hangingPunct="1">
        <a:spcBef>
          <a:spcPts val="600"/>
        </a:spcBef>
        <a:spcAft>
          <a:spcPts val="600"/>
        </a:spcAft>
        <a:buClr>
          <a:schemeClr val="accent3"/>
        </a:buClr>
        <a:buFont typeface="Arial" panose="020B0604020202020204" pitchFamily="34" charset="0"/>
        <a:buChar char="●"/>
        <a:defRPr sz="1400" kern="1200">
          <a:solidFill>
            <a:schemeClr val="bg1"/>
          </a:solidFill>
          <a:latin typeface="+mn-lt"/>
          <a:ea typeface="+mn-ea"/>
          <a:cs typeface="+mn-cs"/>
        </a:defRPr>
      </a:lvl2pPr>
      <a:lvl3pPr marL="541338" indent="-269875" algn="l" defTabSz="914400" rtl="0" eaLnBrk="1" latinLnBrk="0" hangingPunct="1">
        <a:spcBef>
          <a:spcPts val="600"/>
        </a:spcBef>
        <a:spcAft>
          <a:spcPts val="600"/>
        </a:spcAft>
        <a:buClr>
          <a:schemeClr val="accent3"/>
        </a:buClr>
        <a:buFont typeface="Arial" panose="020B0604020202020204" pitchFamily="34" charset="0"/>
        <a:buChar char="●"/>
        <a:defRPr sz="1400" kern="1200">
          <a:solidFill>
            <a:schemeClr val="bg1"/>
          </a:solidFill>
          <a:latin typeface="+mn-lt"/>
          <a:ea typeface="+mn-ea"/>
          <a:cs typeface="+mn-cs"/>
        </a:defRPr>
      </a:lvl3pPr>
      <a:lvl4pPr marL="804863" indent="-263525" algn="l" defTabSz="914400" rtl="0" eaLnBrk="1" latinLnBrk="0" hangingPunct="1">
        <a:spcBef>
          <a:spcPts val="600"/>
        </a:spcBef>
        <a:spcAft>
          <a:spcPts val="300"/>
        </a:spcAft>
        <a:buClr>
          <a:schemeClr val="accent3"/>
        </a:buClr>
        <a:buFont typeface="Arial" panose="020B0604020202020204" pitchFamily="34" charset="0"/>
        <a:buChar char="●"/>
        <a:defRPr sz="1100" kern="1200">
          <a:solidFill>
            <a:schemeClr val="bg1"/>
          </a:solidFill>
          <a:latin typeface="+mn-lt"/>
          <a:ea typeface="+mn-ea"/>
          <a:cs typeface="+mn-cs"/>
        </a:defRPr>
      </a:lvl4pPr>
      <a:lvl5pPr marL="1080000" indent="-269875" algn="l" defTabSz="914400" rtl="0" eaLnBrk="1" latinLnBrk="0" hangingPunct="1">
        <a:spcBef>
          <a:spcPts val="600"/>
        </a:spcBef>
        <a:spcAft>
          <a:spcPts val="300"/>
        </a:spcAft>
        <a:buClr>
          <a:schemeClr val="accent3"/>
        </a:buClr>
        <a:buFont typeface="Arial" panose="020B0604020202020204" pitchFamily="34" charset="0"/>
        <a:buChar char="●"/>
        <a:defRPr sz="1100" kern="1200">
          <a:solidFill>
            <a:schemeClr val="bg1"/>
          </a:solidFill>
          <a:latin typeface="+mn-lt"/>
          <a:ea typeface="+mn-ea"/>
          <a:cs typeface="+mn-cs"/>
        </a:defRPr>
      </a:lvl5pPr>
      <a:lvl6pPr marL="1080000" indent="-268288" algn="l" defTabSz="914400" rtl="0" eaLnBrk="1" latinLnBrk="0" hangingPunct="1">
        <a:spcBef>
          <a:spcPts val="600"/>
        </a:spcBef>
        <a:spcAft>
          <a:spcPts val="300"/>
        </a:spcAft>
        <a:buClr>
          <a:schemeClr val="accent3"/>
        </a:buClr>
        <a:buFont typeface="Arial" panose="020B0604020202020204" pitchFamily="34" charset="0"/>
        <a:buChar char="●"/>
        <a:defRPr sz="1100" kern="1200">
          <a:solidFill>
            <a:schemeClr val="bg1"/>
          </a:solidFill>
          <a:latin typeface="+mn-lt"/>
          <a:ea typeface="+mn-ea"/>
          <a:cs typeface="+mn-cs"/>
        </a:defRPr>
      </a:lvl6pPr>
      <a:lvl7pPr marL="1080000" indent="-268288" algn="l" defTabSz="914400" rtl="0" eaLnBrk="1" latinLnBrk="0" hangingPunct="1">
        <a:spcBef>
          <a:spcPts val="600"/>
        </a:spcBef>
        <a:spcAft>
          <a:spcPts val="300"/>
        </a:spcAft>
        <a:buClr>
          <a:schemeClr val="accent3"/>
        </a:buClr>
        <a:buFont typeface="Arial" panose="020B0604020202020204" pitchFamily="34" charset="0"/>
        <a:buChar char="●"/>
        <a:defRPr sz="1100" kern="1200" baseline="0">
          <a:solidFill>
            <a:schemeClr val="bg1"/>
          </a:solidFill>
          <a:latin typeface="+mn-lt"/>
          <a:ea typeface="+mn-ea"/>
          <a:cs typeface="+mn-cs"/>
        </a:defRPr>
      </a:lvl7pPr>
      <a:lvl8pPr marL="811712" marR="0" indent="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300"/>
        </a:spcAft>
        <a:buClr>
          <a:schemeClr val="accent3"/>
        </a:buClr>
        <a:buSzTx/>
        <a:buFont typeface="Arial" panose="020B0604020202020204" pitchFamily="34" charset="0"/>
        <a:buNone/>
        <a:tabLst/>
        <a:defRPr sz="1100" kern="1200" baseline="0">
          <a:solidFill>
            <a:schemeClr val="bg1"/>
          </a:solidFill>
          <a:latin typeface="+mn-lt"/>
          <a:ea typeface="+mn-ea"/>
          <a:cs typeface="+mn-cs"/>
        </a:defRPr>
      </a:lvl8pPr>
      <a:lvl9pPr marL="1080000" indent="-268288" algn="l" defTabSz="914400" rtl="0" eaLnBrk="1" latinLnBrk="0" hangingPunct="1">
        <a:spcBef>
          <a:spcPts val="600"/>
        </a:spcBef>
        <a:spcAft>
          <a:spcPts val="300"/>
        </a:spcAft>
        <a:buClr>
          <a:schemeClr val="accent3"/>
        </a:buClr>
        <a:buFont typeface="Arial" panose="020B0604020202020204" pitchFamily="34" charset="0"/>
        <a:buChar char="●"/>
        <a:defRPr sz="1100" kern="1200" baseline="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xmlns="" id="{F343704B-0C72-4414-A334-C2477820E99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470" b="3454"/>
          <a:stretch/>
        </p:blipFill>
        <p:spPr>
          <a:xfrm>
            <a:off x="-1" y="-44604"/>
            <a:ext cx="9142413" cy="5185728"/>
          </a:xfrm>
          <a:prstGeom prst="rect">
            <a:avLst/>
          </a:prstGeom>
        </p:spPr>
      </p:pic>
      <p:sp>
        <p:nvSpPr>
          <p:cNvPr id="11" name="Parallelogramm 10">
            <a:extLst>
              <a:ext uri="{FF2B5EF4-FFF2-40B4-BE49-F238E27FC236}">
                <a16:creationId xmlns:a16="http://schemas.microsoft.com/office/drawing/2014/main" xmlns="" id="{D3B0A3BC-4CCF-410A-BAD2-F490F02277EC}"/>
              </a:ext>
            </a:extLst>
          </p:cNvPr>
          <p:cNvSpPr/>
          <p:nvPr/>
        </p:nvSpPr>
        <p:spPr>
          <a:xfrm>
            <a:off x="-489374" y="-65400"/>
            <a:ext cx="4258310" cy="2973332"/>
          </a:xfrm>
          <a:prstGeom prst="parallelogram">
            <a:avLst>
              <a:gd name="adj" fmla="val 27773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>
              <a:solidFill>
                <a:srgbClr val="344046"/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xmlns="" id="{5B01AF2C-CB29-4389-A3EB-EF458646A171}"/>
              </a:ext>
            </a:extLst>
          </p:cNvPr>
          <p:cNvSpPr txBox="1"/>
          <p:nvPr/>
        </p:nvSpPr>
        <p:spPr>
          <a:xfrm>
            <a:off x="358775" y="3746648"/>
            <a:ext cx="3059543" cy="28851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Finn Zentgraf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xmlns="" id="{EA26E274-D7DB-42E7-B711-FEF81FA21A48}"/>
              </a:ext>
            </a:extLst>
          </p:cNvPr>
          <p:cNvSpPr txBox="1"/>
          <p:nvPr/>
        </p:nvSpPr>
        <p:spPr>
          <a:xfrm>
            <a:off x="358775" y="4065715"/>
            <a:ext cx="4661512" cy="59359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de-DE" sz="1400" b="1" dirty="0" err="1" smtClean="0">
                <a:solidFill>
                  <a:schemeClr val="bg1"/>
                </a:solidFill>
              </a:rPr>
              <a:t>Serverside</a:t>
            </a:r>
            <a:r>
              <a:rPr lang="de-DE" sz="1400" b="1" dirty="0" smtClean="0">
                <a:solidFill>
                  <a:schemeClr val="bg1"/>
                </a:solidFill>
              </a:rPr>
              <a:t> Rendering mit </a:t>
            </a:r>
            <a:r>
              <a:rPr lang="de-DE" sz="1400" b="1" dirty="0" err="1" smtClean="0">
                <a:solidFill>
                  <a:schemeClr val="bg1"/>
                </a:solidFill>
              </a:rPr>
              <a:t>React</a:t>
            </a:r>
            <a:r>
              <a:rPr lang="de-DE" sz="1400" b="1" dirty="0" smtClean="0">
                <a:solidFill>
                  <a:schemeClr val="bg1"/>
                </a:solidFill>
              </a:rPr>
              <a:t> &amp; </a:t>
            </a:r>
            <a:r>
              <a:rPr lang="de-DE" sz="1400" b="1" dirty="0" err="1" smtClean="0">
                <a:solidFill>
                  <a:schemeClr val="bg1"/>
                </a:solidFill>
              </a:rPr>
              <a:t>NextJS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xmlns="" id="{12AE3E70-1EA0-44AF-91FC-A9C80823A774}"/>
              </a:ext>
            </a:extLst>
          </p:cNvPr>
          <p:cNvSpPr/>
          <p:nvPr/>
        </p:nvSpPr>
        <p:spPr>
          <a:xfrm>
            <a:off x="7546554" y="4668838"/>
            <a:ext cx="1191895" cy="47466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>
              <a:solidFill>
                <a:srgbClr val="344046"/>
              </a:solidFill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xmlns="" id="{B206131F-658E-420F-93D0-E342A48F655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6554" y="4675595"/>
            <a:ext cx="1191895" cy="425677"/>
          </a:xfrm>
          <a:prstGeom prst="rect">
            <a:avLst/>
          </a:prstGeom>
        </p:spPr>
      </p:pic>
      <p:pic>
        <p:nvPicPr>
          <p:cNvPr id="1026" name="Picture 2" descr="https://upload.wikimedia.org/wikipedia/commons/thumb/8/8e/Nextjs-logo.svg/1280px-Nextjs-logo.svg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406" y="757464"/>
            <a:ext cx="1800000" cy="10785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24571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">
            <a:extLst>
              <a:ext uri="{FF2B5EF4-FFF2-40B4-BE49-F238E27FC236}">
                <a16:creationId xmlns:a16="http://schemas.microsoft.com/office/drawing/2014/main" xmlns="" id="{02E1418F-13E9-4DD1-A436-757FB376FACC}"/>
              </a:ext>
            </a:extLst>
          </p:cNvPr>
          <p:cNvSpPr txBox="1">
            <a:spLocks/>
          </p:cNvSpPr>
          <p:nvPr/>
        </p:nvSpPr>
        <p:spPr>
          <a:xfrm>
            <a:off x="214313" y="-162797"/>
            <a:ext cx="8715375" cy="40888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de-DE" sz="1800" dirty="0">
              <a:solidFill>
                <a:schemeClr val="accent1"/>
              </a:solidFill>
            </a:endParaRPr>
          </a:p>
        </p:txBody>
      </p:sp>
      <p:sp>
        <p:nvSpPr>
          <p:cNvPr id="23" name="Titel 22">
            <a:extLst>
              <a:ext uri="{FF2B5EF4-FFF2-40B4-BE49-F238E27FC236}">
                <a16:creationId xmlns:a16="http://schemas.microsoft.com/office/drawing/2014/main" xmlns="" id="{0F8728F2-FADF-46A9-8EB9-8EDE7B5674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cs typeface="Calibri" pitchFamily="34" charset="0"/>
              </a:rPr>
              <a:t>Server Side Rendering</a:t>
            </a:r>
            <a:endParaRPr lang="de-DE" b="0" dirty="0"/>
          </a:p>
        </p:txBody>
      </p:sp>
      <p:grpSp>
        <p:nvGrpSpPr>
          <p:cNvPr id="5" name="Group 11">
            <a:extLst>
              <a:ext uri="{FF2B5EF4-FFF2-40B4-BE49-F238E27FC236}">
                <a16:creationId xmlns:a16="http://schemas.microsoft.com/office/drawing/2014/main" xmlns="" id="{76856D07-6196-4679-B2FC-509EF1A94CF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17093" y="1132708"/>
            <a:ext cx="1152541" cy="720000"/>
            <a:chOff x="1179" y="871"/>
            <a:chExt cx="850" cy="531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6" name="AutoShape 10">
              <a:extLst>
                <a:ext uri="{FF2B5EF4-FFF2-40B4-BE49-F238E27FC236}">
                  <a16:creationId xmlns:a16="http://schemas.microsoft.com/office/drawing/2014/main" xmlns="" id="{BEB361D1-0D44-4F73-A5AB-89005E9B3BB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179" y="871"/>
              <a:ext cx="850" cy="5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" name="Freeform 12">
              <a:extLst>
                <a:ext uri="{FF2B5EF4-FFF2-40B4-BE49-F238E27FC236}">
                  <a16:creationId xmlns:a16="http://schemas.microsoft.com/office/drawing/2014/main" xmlns="" id="{00BAB5DE-83E2-4F23-9579-23A3E6B2E8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0" y="871"/>
              <a:ext cx="848" cy="532"/>
            </a:xfrm>
            <a:custGeom>
              <a:avLst/>
              <a:gdLst>
                <a:gd name="T0" fmla="*/ 718 w 718"/>
                <a:gd name="T1" fmla="*/ 367 h 451"/>
                <a:gd name="T2" fmla="*/ 718 w 718"/>
                <a:gd name="T3" fmla="*/ 425 h 451"/>
                <a:gd name="T4" fmla="*/ 676 w 718"/>
                <a:gd name="T5" fmla="*/ 451 h 451"/>
                <a:gd name="T6" fmla="*/ 43 w 718"/>
                <a:gd name="T7" fmla="*/ 451 h 451"/>
                <a:gd name="T8" fmla="*/ 0 w 718"/>
                <a:gd name="T9" fmla="*/ 426 h 451"/>
                <a:gd name="T10" fmla="*/ 0 w 718"/>
                <a:gd name="T11" fmla="*/ 367 h 451"/>
                <a:gd name="T12" fmla="*/ 84 w 718"/>
                <a:gd name="T13" fmla="*/ 367 h 451"/>
                <a:gd name="T14" fmla="*/ 84 w 718"/>
                <a:gd name="T15" fmla="*/ 35 h 451"/>
                <a:gd name="T16" fmla="*/ 118 w 718"/>
                <a:gd name="T17" fmla="*/ 0 h 451"/>
                <a:gd name="T18" fmla="*/ 601 w 718"/>
                <a:gd name="T19" fmla="*/ 0 h 451"/>
                <a:gd name="T20" fmla="*/ 635 w 718"/>
                <a:gd name="T21" fmla="*/ 35 h 451"/>
                <a:gd name="T22" fmla="*/ 635 w 718"/>
                <a:gd name="T23" fmla="*/ 367 h 451"/>
                <a:gd name="T24" fmla="*/ 718 w 718"/>
                <a:gd name="T25" fmla="*/ 367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18" h="451">
                  <a:moveTo>
                    <a:pt x="718" y="367"/>
                  </a:moveTo>
                  <a:cubicBezTo>
                    <a:pt x="718" y="425"/>
                    <a:pt x="718" y="425"/>
                    <a:pt x="718" y="425"/>
                  </a:cubicBezTo>
                  <a:cubicBezTo>
                    <a:pt x="676" y="451"/>
                    <a:pt x="676" y="451"/>
                    <a:pt x="676" y="451"/>
                  </a:cubicBezTo>
                  <a:cubicBezTo>
                    <a:pt x="43" y="451"/>
                    <a:pt x="43" y="451"/>
                    <a:pt x="43" y="451"/>
                  </a:cubicBezTo>
                  <a:cubicBezTo>
                    <a:pt x="0" y="426"/>
                    <a:pt x="0" y="426"/>
                    <a:pt x="0" y="426"/>
                  </a:cubicBezTo>
                  <a:cubicBezTo>
                    <a:pt x="0" y="367"/>
                    <a:pt x="0" y="367"/>
                    <a:pt x="0" y="367"/>
                  </a:cubicBezTo>
                  <a:cubicBezTo>
                    <a:pt x="84" y="367"/>
                    <a:pt x="84" y="367"/>
                    <a:pt x="84" y="367"/>
                  </a:cubicBezTo>
                  <a:cubicBezTo>
                    <a:pt x="84" y="35"/>
                    <a:pt x="84" y="35"/>
                    <a:pt x="84" y="35"/>
                  </a:cubicBezTo>
                  <a:cubicBezTo>
                    <a:pt x="84" y="13"/>
                    <a:pt x="101" y="0"/>
                    <a:pt x="118" y="0"/>
                  </a:cubicBezTo>
                  <a:cubicBezTo>
                    <a:pt x="601" y="0"/>
                    <a:pt x="601" y="0"/>
                    <a:pt x="601" y="0"/>
                  </a:cubicBezTo>
                  <a:cubicBezTo>
                    <a:pt x="622" y="0"/>
                    <a:pt x="635" y="18"/>
                    <a:pt x="635" y="35"/>
                  </a:cubicBezTo>
                  <a:cubicBezTo>
                    <a:pt x="635" y="367"/>
                    <a:pt x="635" y="367"/>
                    <a:pt x="635" y="367"/>
                  </a:cubicBezTo>
                  <a:lnTo>
                    <a:pt x="718" y="3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" name="Freeform 13">
              <a:extLst>
                <a:ext uri="{FF2B5EF4-FFF2-40B4-BE49-F238E27FC236}">
                  <a16:creationId xmlns:a16="http://schemas.microsoft.com/office/drawing/2014/main" xmlns="" id="{68016CAD-AF12-4D26-8AC2-C76C6ABF2F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09" y="899"/>
              <a:ext cx="790" cy="476"/>
            </a:xfrm>
            <a:custGeom>
              <a:avLst/>
              <a:gdLst>
                <a:gd name="T0" fmla="*/ 577 w 670"/>
                <a:gd name="T1" fmla="*/ 0 h 403"/>
                <a:gd name="T2" fmla="*/ 94 w 670"/>
                <a:gd name="T3" fmla="*/ 0 h 403"/>
                <a:gd name="T4" fmla="*/ 84 w 670"/>
                <a:gd name="T5" fmla="*/ 11 h 403"/>
                <a:gd name="T6" fmla="*/ 84 w 670"/>
                <a:gd name="T7" fmla="*/ 346 h 403"/>
                <a:gd name="T8" fmla="*/ 94 w 670"/>
                <a:gd name="T9" fmla="*/ 357 h 403"/>
                <a:gd name="T10" fmla="*/ 577 w 670"/>
                <a:gd name="T11" fmla="*/ 357 h 403"/>
                <a:gd name="T12" fmla="*/ 587 w 670"/>
                <a:gd name="T13" fmla="*/ 346 h 403"/>
                <a:gd name="T14" fmla="*/ 587 w 670"/>
                <a:gd name="T15" fmla="*/ 11 h 403"/>
                <a:gd name="T16" fmla="*/ 577 w 670"/>
                <a:gd name="T17" fmla="*/ 0 h 403"/>
                <a:gd name="T18" fmla="*/ 562 w 670"/>
                <a:gd name="T19" fmla="*/ 331 h 403"/>
                <a:gd name="T20" fmla="*/ 109 w 670"/>
                <a:gd name="T21" fmla="*/ 331 h 403"/>
                <a:gd name="T22" fmla="*/ 109 w 670"/>
                <a:gd name="T23" fmla="*/ 25 h 403"/>
                <a:gd name="T24" fmla="*/ 562 w 670"/>
                <a:gd name="T25" fmla="*/ 25 h 403"/>
                <a:gd name="T26" fmla="*/ 562 w 670"/>
                <a:gd name="T27" fmla="*/ 331 h 403"/>
                <a:gd name="T28" fmla="*/ 670 w 670"/>
                <a:gd name="T29" fmla="*/ 367 h 403"/>
                <a:gd name="T30" fmla="*/ 670 w 670"/>
                <a:gd name="T31" fmla="*/ 388 h 403"/>
                <a:gd name="T32" fmla="*/ 646 w 670"/>
                <a:gd name="T33" fmla="*/ 403 h 403"/>
                <a:gd name="T34" fmla="*/ 25 w 670"/>
                <a:gd name="T35" fmla="*/ 403 h 403"/>
                <a:gd name="T36" fmla="*/ 0 w 670"/>
                <a:gd name="T37" fmla="*/ 388 h 403"/>
                <a:gd name="T38" fmla="*/ 0 w 670"/>
                <a:gd name="T39" fmla="*/ 367 h 403"/>
                <a:gd name="T40" fmla="*/ 287 w 670"/>
                <a:gd name="T41" fmla="*/ 367 h 403"/>
                <a:gd name="T42" fmla="*/ 287 w 670"/>
                <a:gd name="T43" fmla="*/ 384 h 403"/>
                <a:gd name="T44" fmla="*/ 384 w 670"/>
                <a:gd name="T45" fmla="*/ 384 h 403"/>
                <a:gd name="T46" fmla="*/ 384 w 670"/>
                <a:gd name="T47" fmla="*/ 367 h 403"/>
                <a:gd name="T48" fmla="*/ 670 w 670"/>
                <a:gd name="T49" fmla="*/ 367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70" h="403">
                  <a:moveTo>
                    <a:pt x="577" y="0"/>
                  </a:move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84" y="0"/>
                    <a:pt x="84" y="11"/>
                  </a:cubicBezTo>
                  <a:cubicBezTo>
                    <a:pt x="84" y="346"/>
                    <a:pt x="84" y="346"/>
                    <a:pt x="84" y="346"/>
                  </a:cubicBezTo>
                  <a:cubicBezTo>
                    <a:pt x="84" y="346"/>
                    <a:pt x="84" y="357"/>
                    <a:pt x="94" y="357"/>
                  </a:cubicBezTo>
                  <a:cubicBezTo>
                    <a:pt x="577" y="357"/>
                    <a:pt x="577" y="357"/>
                    <a:pt x="577" y="357"/>
                  </a:cubicBezTo>
                  <a:cubicBezTo>
                    <a:pt x="577" y="357"/>
                    <a:pt x="587" y="357"/>
                    <a:pt x="587" y="346"/>
                  </a:cubicBezTo>
                  <a:cubicBezTo>
                    <a:pt x="587" y="11"/>
                    <a:pt x="587" y="11"/>
                    <a:pt x="587" y="11"/>
                  </a:cubicBezTo>
                  <a:cubicBezTo>
                    <a:pt x="587" y="11"/>
                    <a:pt x="587" y="0"/>
                    <a:pt x="577" y="0"/>
                  </a:cubicBezTo>
                  <a:close/>
                  <a:moveTo>
                    <a:pt x="562" y="331"/>
                  </a:moveTo>
                  <a:cubicBezTo>
                    <a:pt x="109" y="331"/>
                    <a:pt x="109" y="331"/>
                    <a:pt x="109" y="331"/>
                  </a:cubicBezTo>
                  <a:cubicBezTo>
                    <a:pt x="109" y="25"/>
                    <a:pt x="109" y="25"/>
                    <a:pt x="109" y="25"/>
                  </a:cubicBezTo>
                  <a:cubicBezTo>
                    <a:pt x="562" y="25"/>
                    <a:pt x="562" y="25"/>
                    <a:pt x="562" y="25"/>
                  </a:cubicBezTo>
                  <a:lnTo>
                    <a:pt x="562" y="331"/>
                  </a:lnTo>
                  <a:close/>
                  <a:moveTo>
                    <a:pt x="670" y="367"/>
                  </a:moveTo>
                  <a:cubicBezTo>
                    <a:pt x="670" y="388"/>
                    <a:pt x="670" y="388"/>
                    <a:pt x="670" y="388"/>
                  </a:cubicBezTo>
                  <a:cubicBezTo>
                    <a:pt x="646" y="403"/>
                    <a:pt x="646" y="403"/>
                    <a:pt x="646" y="403"/>
                  </a:cubicBezTo>
                  <a:cubicBezTo>
                    <a:pt x="25" y="403"/>
                    <a:pt x="25" y="403"/>
                    <a:pt x="25" y="403"/>
                  </a:cubicBezTo>
                  <a:cubicBezTo>
                    <a:pt x="0" y="388"/>
                    <a:pt x="0" y="388"/>
                    <a:pt x="0" y="388"/>
                  </a:cubicBezTo>
                  <a:cubicBezTo>
                    <a:pt x="0" y="367"/>
                    <a:pt x="0" y="367"/>
                    <a:pt x="0" y="367"/>
                  </a:cubicBezTo>
                  <a:cubicBezTo>
                    <a:pt x="287" y="367"/>
                    <a:pt x="287" y="367"/>
                    <a:pt x="287" y="367"/>
                  </a:cubicBezTo>
                  <a:cubicBezTo>
                    <a:pt x="287" y="384"/>
                    <a:pt x="287" y="384"/>
                    <a:pt x="287" y="384"/>
                  </a:cubicBezTo>
                  <a:cubicBezTo>
                    <a:pt x="384" y="384"/>
                    <a:pt x="384" y="384"/>
                    <a:pt x="384" y="384"/>
                  </a:cubicBezTo>
                  <a:cubicBezTo>
                    <a:pt x="384" y="367"/>
                    <a:pt x="384" y="367"/>
                    <a:pt x="384" y="367"/>
                  </a:cubicBezTo>
                  <a:lnTo>
                    <a:pt x="670" y="367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9" name="Group 29">
            <a:extLst>
              <a:ext uri="{FF2B5EF4-FFF2-40B4-BE49-F238E27FC236}">
                <a16:creationId xmlns:a16="http://schemas.microsoft.com/office/drawing/2014/main" xmlns="" id="{7EECFAAE-B14C-4531-8733-C3EBB39F380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52365" y="1121957"/>
            <a:ext cx="343790" cy="720000"/>
            <a:chOff x="4567" y="834"/>
            <a:chExt cx="456" cy="955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10" name="AutoShape 28">
              <a:extLst>
                <a:ext uri="{FF2B5EF4-FFF2-40B4-BE49-F238E27FC236}">
                  <a16:creationId xmlns:a16="http://schemas.microsoft.com/office/drawing/2014/main" xmlns="" id="{4532A078-44B8-4A28-A257-932D125E0A1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567" y="834"/>
              <a:ext cx="456" cy="9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30">
              <a:extLst>
                <a:ext uri="{FF2B5EF4-FFF2-40B4-BE49-F238E27FC236}">
                  <a16:creationId xmlns:a16="http://schemas.microsoft.com/office/drawing/2014/main" xmlns="" id="{8CB53D47-C730-430C-A10B-9503CF4A7EB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6" y="834"/>
              <a:ext cx="456" cy="954"/>
            </a:xfrm>
            <a:custGeom>
              <a:avLst/>
              <a:gdLst>
                <a:gd name="T0" fmla="*/ 375 w 375"/>
                <a:gd name="T1" fmla="*/ 45 h 785"/>
                <a:gd name="T2" fmla="*/ 375 w 375"/>
                <a:gd name="T3" fmla="*/ 740 h 785"/>
                <a:gd name="T4" fmla="*/ 331 w 375"/>
                <a:gd name="T5" fmla="*/ 785 h 785"/>
                <a:gd name="T6" fmla="*/ 44 w 375"/>
                <a:gd name="T7" fmla="*/ 785 h 785"/>
                <a:gd name="T8" fmla="*/ 0 w 375"/>
                <a:gd name="T9" fmla="*/ 740 h 785"/>
                <a:gd name="T10" fmla="*/ 0 w 375"/>
                <a:gd name="T11" fmla="*/ 45 h 785"/>
                <a:gd name="T12" fmla="*/ 44 w 375"/>
                <a:gd name="T13" fmla="*/ 0 h 785"/>
                <a:gd name="T14" fmla="*/ 331 w 375"/>
                <a:gd name="T15" fmla="*/ 0 h 785"/>
                <a:gd name="T16" fmla="*/ 375 w 375"/>
                <a:gd name="T17" fmla="*/ 45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5" h="785">
                  <a:moveTo>
                    <a:pt x="375" y="45"/>
                  </a:moveTo>
                  <a:cubicBezTo>
                    <a:pt x="375" y="740"/>
                    <a:pt x="375" y="740"/>
                    <a:pt x="375" y="740"/>
                  </a:cubicBezTo>
                  <a:cubicBezTo>
                    <a:pt x="375" y="769"/>
                    <a:pt x="352" y="785"/>
                    <a:pt x="331" y="785"/>
                  </a:cubicBezTo>
                  <a:cubicBezTo>
                    <a:pt x="44" y="785"/>
                    <a:pt x="44" y="785"/>
                    <a:pt x="44" y="785"/>
                  </a:cubicBezTo>
                  <a:cubicBezTo>
                    <a:pt x="15" y="785"/>
                    <a:pt x="0" y="762"/>
                    <a:pt x="0" y="740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16"/>
                    <a:pt x="23" y="0"/>
                    <a:pt x="44" y="0"/>
                  </a:cubicBezTo>
                  <a:cubicBezTo>
                    <a:pt x="331" y="0"/>
                    <a:pt x="331" y="0"/>
                    <a:pt x="331" y="0"/>
                  </a:cubicBezTo>
                  <a:cubicBezTo>
                    <a:pt x="359" y="0"/>
                    <a:pt x="375" y="23"/>
                    <a:pt x="375" y="4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Rectangle 31">
              <a:extLst>
                <a:ext uri="{FF2B5EF4-FFF2-40B4-BE49-F238E27FC236}">
                  <a16:creationId xmlns:a16="http://schemas.microsoft.com/office/drawing/2014/main" xmlns="" id="{3C3781EF-9D59-4E7F-A8BA-6DBEA45E62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95" y="1021"/>
              <a:ext cx="398" cy="133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32">
              <a:extLst>
                <a:ext uri="{FF2B5EF4-FFF2-40B4-BE49-F238E27FC236}">
                  <a16:creationId xmlns:a16="http://schemas.microsoft.com/office/drawing/2014/main" xmlns="" id="{E92412B0-433D-4369-A490-A4C34CECAD3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5" y="862"/>
              <a:ext cx="398" cy="142"/>
            </a:xfrm>
            <a:custGeom>
              <a:avLst/>
              <a:gdLst>
                <a:gd name="T0" fmla="*/ 327 w 327"/>
                <a:gd name="T1" fmla="*/ 117 h 117"/>
                <a:gd name="T2" fmla="*/ 327 w 327"/>
                <a:gd name="T3" fmla="*/ 20 h 117"/>
                <a:gd name="T4" fmla="*/ 307 w 327"/>
                <a:gd name="T5" fmla="*/ 0 h 117"/>
                <a:gd name="T6" fmla="*/ 20 w 327"/>
                <a:gd name="T7" fmla="*/ 0 h 117"/>
                <a:gd name="T8" fmla="*/ 0 w 327"/>
                <a:gd name="T9" fmla="*/ 20 h 117"/>
                <a:gd name="T10" fmla="*/ 0 w 327"/>
                <a:gd name="T11" fmla="*/ 117 h 117"/>
                <a:gd name="T12" fmla="*/ 327 w 327"/>
                <a:gd name="T13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7" h="117">
                  <a:moveTo>
                    <a:pt x="327" y="117"/>
                  </a:moveTo>
                  <a:cubicBezTo>
                    <a:pt x="327" y="20"/>
                    <a:pt x="327" y="20"/>
                    <a:pt x="327" y="20"/>
                  </a:cubicBezTo>
                  <a:cubicBezTo>
                    <a:pt x="327" y="20"/>
                    <a:pt x="327" y="0"/>
                    <a:pt x="307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0" y="0"/>
                    <a:pt x="0" y="20"/>
                  </a:cubicBezTo>
                  <a:cubicBezTo>
                    <a:pt x="0" y="117"/>
                    <a:pt x="0" y="117"/>
                    <a:pt x="0" y="117"/>
                  </a:cubicBezTo>
                  <a:lnTo>
                    <a:pt x="327" y="117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33">
              <a:extLst>
                <a:ext uri="{FF2B5EF4-FFF2-40B4-BE49-F238E27FC236}">
                  <a16:creationId xmlns:a16="http://schemas.microsoft.com/office/drawing/2014/main" xmlns="" id="{13F04C4D-4064-4466-9454-36D980971A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95" y="1171"/>
              <a:ext cx="398" cy="585"/>
            </a:xfrm>
            <a:custGeom>
              <a:avLst/>
              <a:gdLst>
                <a:gd name="T0" fmla="*/ 0 w 327"/>
                <a:gd name="T1" fmla="*/ 0 h 482"/>
                <a:gd name="T2" fmla="*/ 0 w 327"/>
                <a:gd name="T3" fmla="*/ 462 h 482"/>
                <a:gd name="T4" fmla="*/ 20 w 327"/>
                <a:gd name="T5" fmla="*/ 482 h 482"/>
                <a:gd name="T6" fmla="*/ 307 w 327"/>
                <a:gd name="T7" fmla="*/ 482 h 482"/>
                <a:gd name="T8" fmla="*/ 327 w 327"/>
                <a:gd name="T9" fmla="*/ 462 h 482"/>
                <a:gd name="T10" fmla="*/ 327 w 327"/>
                <a:gd name="T11" fmla="*/ 0 h 482"/>
                <a:gd name="T12" fmla="*/ 0 w 327"/>
                <a:gd name="T13" fmla="*/ 0 h 482"/>
                <a:gd name="T14" fmla="*/ 163 w 327"/>
                <a:gd name="T15" fmla="*/ 405 h 482"/>
                <a:gd name="T16" fmla="*/ 141 w 327"/>
                <a:gd name="T17" fmla="*/ 382 h 482"/>
                <a:gd name="T18" fmla="*/ 163 w 327"/>
                <a:gd name="T19" fmla="*/ 360 h 482"/>
                <a:gd name="T20" fmla="*/ 186 w 327"/>
                <a:gd name="T21" fmla="*/ 382 h 482"/>
                <a:gd name="T22" fmla="*/ 163 w 327"/>
                <a:gd name="T23" fmla="*/ 405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27" h="482">
                  <a:moveTo>
                    <a:pt x="0" y="0"/>
                  </a:moveTo>
                  <a:cubicBezTo>
                    <a:pt x="0" y="462"/>
                    <a:pt x="0" y="462"/>
                    <a:pt x="0" y="462"/>
                  </a:cubicBezTo>
                  <a:cubicBezTo>
                    <a:pt x="0" y="462"/>
                    <a:pt x="0" y="482"/>
                    <a:pt x="20" y="482"/>
                  </a:cubicBezTo>
                  <a:cubicBezTo>
                    <a:pt x="307" y="482"/>
                    <a:pt x="307" y="482"/>
                    <a:pt x="307" y="482"/>
                  </a:cubicBezTo>
                  <a:cubicBezTo>
                    <a:pt x="307" y="482"/>
                    <a:pt x="327" y="482"/>
                    <a:pt x="327" y="462"/>
                  </a:cubicBezTo>
                  <a:cubicBezTo>
                    <a:pt x="327" y="0"/>
                    <a:pt x="327" y="0"/>
                    <a:pt x="327" y="0"/>
                  </a:cubicBezTo>
                  <a:lnTo>
                    <a:pt x="0" y="0"/>
                  </a:lnTo>
                  <a:close/>
                  <a:moveTo>
                    <a:pt x="163" y="405"/>
                  </a:moveTo>
                  <a:cubicBezTo>
                    <a:pt x="151" y="405"/>
                    <a:pt x="141" y="395"/>
                    <a:pt x="141" y="382"/>
                  </a:cubicBezTo>
                  <a:cubicBezTo>
                    <a:pt x="141" y="370"/>
                    <a:pt x="151" y="360"/>
                    <a:pt x="163" y="360"/>
                  </a:cubicBezTo>
                  <a:cubicBezTo>
                    <a:pt x="176" y="360"/>
                    <a:pt x="186" y="370"/>
                    <a:pt x="186" y="382"/>
                  </a:cubicBezTo>
                  <a:cubicBezTo>
                    <a:pt x="186" y="395"/>
                    <a:pt x="176" y="405"/>
                    <a:pt x="163" y="405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16" name="Group 53">
            <a:extLst>
              <a:ext uri="{FF2B5EF4-FFF2-40B4-BE49-F238E27FC236}">
                <a16:creationId xmlns:a16="http://schemas.microsoft.com/office/drawing/2014/main" xmlns="" id="{7630139E-0BFA-4F5E-AC00-F584FE51BD8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841449" y="1370401"/>
            <a:ext cx="320657" cy="540000"/>
            <a:chOff x="2554" y="1611"/>
            <a:chExt cx="652" cy="1098"/>
          </a:xfrm>
          <a:effectLst>
            <a:outerShdw blurRad="101600" dist="508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17" name="AutoShape 52">
              <a:extLst>
                <a:ext uri="{FF2B5EF4-FFF2-40B4-BE49-F238E27FC236}">
                  <a16:creationId xmlns:a16="http://schemas.microsoft.com/office/drawing/2014/main" xmlns="" id="{136A9E2B-6946-4614-A3F1-50D76F80DE0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554" y="1611"/>
              <a:ext cx="652" cy="10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54">
              <a:extLst>
                <a:ext uri="{FF2B5EF4-FFF2-40B4-BE49-F238E27FC236}">
                  <a16:creationId xmlns:a16="http://schemas.microsoft.com/office/drawing/2014/main" xmlns="" id="{DF519CA5-700D-41BE-9449-73218A924A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6" y="1613"/>
              <a:ext cx="652" cy="1098"/>
            </a:xfrm>
            <a:custGeom>
              <a:avLst/>
              <a:gdLst>
                <a:gd name="T0" fmla="*/ 276 w 276"/>
                <a:gd name="T1" fmla="*/ 51 h 465"/>
                <a:gd name="T2" fmla="*/ 276 w 276"/>
                <a:gd name="T3" fmla="*/ 414 h 465"/>
                <a:gd name="T4" fmla="*/ 225 w 276"/>
                <a:gd name="T5" fmla="*/ 465 h 465"/>
                <a:gd name="T6" fmla="*/ 51 w 276"/>
                <a:gd name="T7" fmla="*/ 465 h 465"/>
                <a:gd name="T8" fmla="*/ 0 w 276"/>
                <a:gd name="T9" fmla="*/ 414 h 465"/>
                <a:gd name="T10" fmla="*/ 0 w 276"/>
                <a:gd name="T11" fmla="*/ 51 h 465"/>
                <a:gd name="T12" fmla="*/ 51 w 276"/>
                <a:gd name="T13" fmla="*/ 0 h 465"/>
                <a:gd name="T14" fmla="*/ 225 w 276"/>
                <a:gd name="T15" fmla="*/ 0 h 465"/>
                <a:gd name="T16" fmla="*/ 276 w 276"/>
                <a:gd name="T17" fmla="*/ 51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6" h="465">
                  <a:moveTo>
                    <a:pt x="276" y="51"/>
                  </a:moveTo>
                  <a:cubicBezTo>
                    <a:pt x="276" y="414"/>
                    <a:pt x="276" y="414"/>
                    <a:pt x="276" y="414"/>
                  </a:cubicBezTo>
                  <a:cubicBezTo>
                    <a:pt x="276" y="442"/>
                    <a:pt x="253" y="465"/>
                    <a:pt x="225" y="465"/>
                  </a:cubicBezTo>
                  <a:cubicBezTo>
                    <a:pt x="51" y="465"/>
                    <a:pt x="51" y="465"/>
                    <a:pt x="51" y="465"/>
                  </a:cubicBezTo>
                  <a:cubicBezTo>
                    <a:pt x="23" y="465"/>
                    <a:pt x="0" y="442"/>
                    <a:pt x="0" y="414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53" y="0"/>
                    <a:pt x="276" y="23"/>
                    <a:pt x="276" y="5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55">
              <a:extLst>
                <a:ext uri="{FF2B5EF4-FFF2-40B4-BE49-F238E27FC236}">
                  <a16:creationId xmlns:a16="http://schemas.microsoft.com/office/drawing/2014/main" xmlns="" id="{8FFAA619-61DA-447A-98CF-D2C90E78B0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89" y="1647"/>
              <a:ext cx="586" cy="1031"/>
            </a:xfrm>
            <a:custGeom>
              <a:avLst/>
              <a:gdLst>
                <a:gd name="T0" fmla="*/ 234 w 248"/>
                <a:gd name="T1" fmla="*/ 376 h 437"/>
                <a:gd name="T2" fmla="*/ 14 w 248"/>
                <a:gd name="T3" fmla="*/ 376 h 437"/>
                <a:gd name="T4" fmla="*/ 14 w 248"/>
                <a:gd name="T5" fmla="*/ 52 h 437"/>
                <a:gd name="T6" fmla="*/ 234 w 248"/>
                <a:gd name="T7" fmla="*/ 52 h 437"/>
                <a:gd name="T8" fmla="*/ 234 w 248"/>
                <a:gd name="T9" fmla="*/ 376 h 437"/>
                <a:gd name="T10" fmla="*/ 152 w 248"/>
                <a:gd name="T11" fmla="*/ 407 h 437"/>
                <a:gd name="T12" fmla="*/ 145 w 248"/>
                <a:gd name="T13" fmla="*/ 414 h 437"/>
                <a:gd name="T14" fmla="*/ 103 w 248"/>
                <a:gd name="T15" fmla="*/ 414 h 437"/>
                <a:gd name="T16" fmla="*/ 96 w 248"/>
                <a:gd name="T17" fmla="*/ 407 h 437"/>
                <a:gd name="T18" fmla="*/ 96 w 248"/>
                <a:gd name="T19" fmla="*/ 404 h 437"/>
                <a:gd name="T20" fmla="*/ 103 w 248"/>
                <a:gd name="T21" fmla="*/ 397 h 437"/>
                <a:gd name="T22" fmla="*/ 145 w 248"/>
                <a:gd name="T23" fmla="*/ 397 h 437"/>
                <a:gd name="T24" fmla="*/ 152 w 248"/>
                <a:gd name="T25" fmla="*/ 404 h 437"/>
                <a:gd name="T26" fmla="*/ 152 w 248"/>
                <a:gd name="T27" fmla="*/ 407 h 437"/>
                <a:gd name="T28" fmla="*/ 70 w 248"/>
                <a:gd name="T29" fmla="*/ 15 h 437"/>
                <a:gd name="T30" fmla="*/ 75 w 248"/>
                <a:gd name="T31" fmla="*/ 20 h 437"/>
                <a:gd name="T32" fmla="*/ 70 w 248"/>
                <a:gd name="T33" fmla="*/ 24 h 437"/>
                <a:gd name="T34" fmla="*/ 66 w 248"/>
                <a:gd name="T35" fmla="*/ 20 h 437"/>
                <a:gd name="T36" fmla="*/ 70 w 248"/>
                <a:gd name="T37" fmla="*/ 15 h 437"/>
                <a:gd name="T38" fmla="*/ 83 w 248"/>
                <a:gd name="T39" fmla="*/ 15 h 437"/>
                <a:gd name="T40" fmla="*/ 87 w 248"/>
                <a:gd name="T41" fmla="*/ 20 h 437"/>
                <a:gd name="T42" fmla="*/ 83 w 248"/>
                <a:gd name="T43" fmla="*/ 24 h 437"/>
                <a:gd name="T44" fmla="*/ 78 w 248"/>
                <a:gd name="T45" fmla="*/ 20 h 437"/>
                <a:gd name="T46" fmla="*/ 83 w 248"/>
                <a:gd name="T47" fmla="*/ 15 h 437"/>
                <a:gd name="T48" fmla="*/ 99 w 248"/>
                <a:gd name="T49" fmla="*/ 15 h 437"/>
                <a:gd name="T50" fmla="*/ 149 w 248"/>
                <a:gd name="T51" fmla="*/ 15 h 437"/>
                <a:gd name="T52" fmla="*/ 149 w 248"/>
                <a:gd name="T53" fmla="*/ 23 h 437"/>
                <a:gd name="T54" fmla="*/ 99 w 248"/>
                <a:gd name="T55" fmla="*/ 23 h 437"/>
                <a:gd name="T56" fmla="*/ 99 w 248"/>
                <a:gd name="T57" fmla="*/ 15 h 437"/>
                <a:gd name="T58" fmla="*/ 186 w 248"/>
                <a:gd name="T59" fmla="*/ 13 h 437"/>
                <a:gd name="T60" fmla="*/ 195 w 248"/>
                <a:gd name="T61" fmla="*/ 21 h 437"/>
                <a:gd name="T62" fmla="*/ 186 w 248"/>
                <a:gd name="T63" fmla="*/ 30 h 437"/>
                <a:gd name="T64" fmla="*/ 178 w 248"/>
                <a:gd name="T65" fmla="*/ 21 h 437"/>
                <a:gd name="T66" fmla="*/ 186 w 248"/>
                <a:gd name="T67" fmla="*/ 13 h 437"/>
                <a:gd name="T68" fmla="*/ 211 w 248"/>
                <a:gd name="T69" fmla="*/ 0 h 437"/>
                <a:gd name="T70" fmla="*/ 37 w 248"/>
                <a:gd name="T71" fmla="*/ 0 h 437"/>
                <a:gd name="T72" fmla="*/ 0 w 248"/>
                <a:gd name="T73" fmla="*/ 37 h 437"/>
                <a:gd name="T74" fmla="*/ 0 w 248"/>
                <a:gd name="T75" fmla="*/ 400 h 437"/>
                <a:gd name="T76" fmla="*/ 37 w 248"/>
                <a:gd name="T77" fmla="*/ 437 h 437"/>
                <a:gd name="T78" fmla="*/ 211 w 248"/>
                <a:gd name="T79" fmla="*/ 437 h 437"/>
                <a:gd name="T80" fmla="*/ 248 w 248"/>
                <a:gd name="T81" fmla="*/ 400 h 437"/>
                <a:gd name="T82" fmla="*/ 248 w 248"/>
                <a:gd name="T83" fmla="*/ 37 h 437"/>
                <a:gd name="T84" fmla="*/ 211 w 248"/>
                <a:gd name="T85" fmla="*/ 0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48" h="437">
                  <a:moveTo>
                    <a:pt x="234" y="376"/>
                  </a:moveTo>
                  <a:cubicBezTo>
                    <a:pt x="14" y="376"/>
                    <a:pt x="14" y="376"/>
                    <a:pt x="14" y="376"/>
                  </a:cubicBezTo>
                  <a:cubicBezTo>
                    <a:pt x="14" y="52"/>
                    <a:pt x="14" y="52"/>
                    <a:pt x="14" y="52"/>
                  </a:cubicBezTo>
                  <a:cubicBezTo>
                    <a:pt x="234" y="52"/>
                    <a:pt x="234" y="52"/>
                    <a:pt x="234" y="52"/>
                  </a:cubicBezTo>
                  <a:lnTo>
                    <a:pt x="234" y="376"/>
                  </a:lnTo>
                  <a:close/>
                  <a:moveTo>
                    <a:pt x="152" y="407"/>
                  </a:moveTo>
                  <a:cubicBezTo>
                    <a:pt x="152" y="411"/>
                    <a:pt x="149" y="414"/>
                    <a:pt x="145" y="414"/>
                  </a:cubicBezTo>
                  <a:cubicBezTo>
                    <a:pt x="103" y="414"/>
                    <a:pt x="103" y="414"/>
                    <a:pt x="103" y="414"/>
                  </a:cubicBezTo>
                  <a:cubicBezTo>
                    <a:pt x="99" y="414"/>
                    <a:pt x="96" y="411"/>
                    <a:pt x="96" y="407"/>
                  </a:cubicBezTo>
                  <a:cubicBezTo>
                    <a:pt x="96" y="404"/>
                    <a:pt x="96" y="404"/>
                    <a:pt x="96" y="404"/>
                  </a:cubicBezTo>
                  <a:cubicBezTo>
                    <a:pt x="96" y="400"/>
                    <a:pt x="99" y="397"/>
                    <a:pt x="103" y="397"/>
                  </a:cubicBezTo>
                  <a:cubicBezTo>
                    <a:pt x="145" y="397"/>
                    <a:pt x="145" y="397"/>
                    <a:pt x="145" y="397"/>
                  </a:cubicBezTo>
                  <a:cubicBezTo>
                    <a:pt x="149" y="397"/>
                    <a:pt x="152" y="400"/>
                    <a:pt x="152" y="404"/>
                  </a:cubicBezTo>
                  <a:lnTo>
                    <a:pt x="152" y="407"/>
                  </a:lnTo>
                  <a:close/>
                  <a:moveTo>
                    <a:pt x="70" y="15"/>
                  </a:moveTo>
                  <a:cubicBezTo>
                    <a:pt x="73" y="15"/>
                    <a:pt x="75" y="17"/>
                    <a:pt x="75" y="20"/>
                  </a:cubicBezTo>
                  <a:cubicBezTo>
                    <a:pt x="75" y="22"/>
                    <a:pt x="73" y="24"/>
                    <a:pt x="70" y="24"/>
                  </a:cubicBezTo>
                  <a:cubicBezTo>
                    <a:pt x="68" y="24"/>
                    <a:pt x="66" y="22"/>
                    <a:pt x="66" y="20"/>
                  </a:cubicBezTo>
                  <a:cubicBezTo>
                    <a:pt x="66" y="17"/>
                    <a:pt x="68" y="15"/>
                    <a:pt x="70" y="15"/>
                  </a:cubicBezTo>
                  <a:moveTo>
                    <a:pt x="83" y="15"/>
                  </a:moveTo>
                  <a:cubicBezTo>
                    <a:pt x="85" y="15"/>
                    <a:pt x="87" y="17"/>
                    <a:pt x="87" y="20"/>
                  </a:cubicBezTo>
                  <a:cubicBezTo>
                    <a:pt x="87" y="22"/>
                    <a:pt x="85" y="24"/>
                    <a:pt x="83" y="24"/>
                  </a:cubicBezTo>
                  <a:cubicBezTo>
                    <a:pt x="80" y="24"/>
                    <a:pt x="78" y="22"/>
                    <a:pt x="78" y="20"/>
                  </a:cubicBezTo>
                  <a:cubicBezTo>
                    <a:pt x="78" y="17"/>
                    <a:pt x="80" y="15"/>
                    <a:pt x="83" y="15"/>
                  </a:cubicBezTo>
                  <a:moveTo>
                    <a:pt x="99" y="15"/>
                  </a:moveTo>
                  <a:cubicBezTo>
                    <a:pt x="149" y="15"/>
                    <a:pt x="149" y="15"/>
                    <a:pt x="149" y="15"/>
                  </a:cubicBezTo>
                  <a:cubicBezTo>
                    <a:pt x="149" y="23"/>
                    <a:pt x="149" y="23"/>
                    <a:pt x="149" y="23"/>
                  </a:cubicBezTo>
                  <a:cubicBezTo>
                    <a:pt x="99" y="23"/>
                    <a:pt x="99" y="23"/>
                    <a:pt x="99" y="23"/>
                  </a:cubicBezTo>
                  <a:lnTo>
                    <a:pt x="99" y="15"/>
                  </a:lnTo>
                  <a:close/>
                  <a:moveTo>
                    <a:pt x="186" y="13"/>
                  </a:moveTo>
                  <a:cubicBezTo>
                    <a:pt x="191" y="13"/>
                    <a:pt x="195" y="16"/>
                    <a:pt x="195" y="21"/>
                  </a:cubicBezTo>
                  <a:cubicBezTo>
                    <a:pt x="195" y="26"/>
                    <a:pt x="191" y="30"/>
                    <a:pt x="186" y="30"/>
                  </a:cubicBezTo>
                  <a:cubicBezTo>
                    <a:pt x="182" y="30"/>
                    <a:pt x="178" y="26"/>
                    <a:pt x="178" y="21"/>
                  </a:cubicBezTo>
                  <a:cubicBezTo>
                    <a:pt x="178" y="16"/>
                    <a:pt x="182" y="13"/>
                    <a:pt x="186" y="13"/>
                  </a:cubicBezTo>
                  <a:moveTo>
                    <a:pt x="211" y="0"/>
                  </a:moveTo>
                  <a:cubicBezTo>
                    <a:pt x="37" y="0"/>
                    <a:pt x="37" y="0"/>
                    <a:pt x="37" y="0"/>
                  </a:cubicBezTo>
                  <a:cubicBezTo>
                    <a:pt x="17" y="0"/>
                    <a:pt x="0" y="17"/>
                    <a:pt x="0" y="37"/>
                  </a:cubicBezTo>
                  <a:cubicBezTo>
                    <a:pt x="0" y="400"/>
                    <a:pt x="0" y="400"/>
                    <a:pt x="0" y="400"/>
                  </a:cubicBezTo>
                  <a:cubicBezTo>
                    <a:pt x="0" y="421"/>
                    <a:pt x="17" y="437"/>
                    <a:pt x="37" y="437"/>
                  </a:cubicBezTo>
                  <a:cubicBezTo>
                    <a:pt x="211" y="437"/>
                    <a:pt x="211" y="437"/>
                    <a:pt x="211" y="437"/>
                  </a:cubicBezTo>
                  <a:cubicBezTo>
                    <a:pt x="231" y="437"/>
                    <a:pt x="248" y="421"/>
                    <a:pt x="248" y="400"/>
                  </a:cubicBezTo>
                  <a:cubicBezTo>
                    <a:pt x="248" y="37"/>
                    <a:pt x="248" y="37"/>
                    <a:pt x="248" y="37"/>
                  </a:cubicBezTo>
                  <a:cubicBezTo>
                    <a:pt x="248" y="17"/>
                    <a:pt x="231" y="0"/>
                    <a:pt x="211" y="0"/>
                  </a:cubicBez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cxnSp>
        <p:nvCxnSpPr>
          <p:cNvPr id="20" name="Gerade Verbindung mit Pfeil 19"/>
          <p:cNvCxnSpPr/>
          <p:nvPr/>
        </p:nvCxnSpPr>
        <p:spPr>
          <a:xfrm>
            <a:off x="3048000" y="1339539"/>
            <a:ext cx="2232660" cy="0"/>
          </a:xfrm>
          <a:prstGeom prst="straightConnector1">
            <a:avLst/>
          </a:prstGeom>
          <a:ln w="28575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/>
          <p:cNvCxnSpPr/>
          <p:nvPr/>
        </p:nvCxnSpPr>
        <p:spPr>
          <a:xfrm flipH="1">
            <a:off x="3048000" y="1493386"/>
            <a:ext cx="2232660" cy="0"/>
          </a:xfrm>
          <a:prstGeom prst="straightConnector1">
            <a:avLst/>
          </a:prstGeom>
          <a:ln w="28575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/>
          <p:cNvSpPr/>
          <p:nvPr/>
        </p:nvSpPr>
        <p:spPr>
          <a:xfrm>
            <a:off x="3116298" y="1647980"/>
            <a:ext cx="1219482" cy="720000"/>
          </a:xfrm>
          <a:prstGeom prst="rect">
            <a:avLst/>
          </a:prstGeom>
          <a:solidFill>
            <a:schemeClr val="bg1"/>
          </a:solidFill>
          <a:ln w="12700">
            <a:solidFill>
              <a:srgbClr val="5A6E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400" dirty="0" smtClean="0">
                <a:solidFill>
                  <a:schemeClr val="tx1"/>
                </a:solidFill>
              </a:rPr>
              <a:t>&lt;</a:t>
            </a:r>
            <a:r>
              <a:rPr lang="de-DE" sz="400" dirty="0" err="1" smtClean="0">
                <a:solidFill>
                  <a:schemeClr val="tx1"/>
                </a:solidFill>
              </a:rPr>
              <a:t>html</a:t>
            </a:r>
            <a:r>
              <a:rPr lang="de-DE" sz="400" dirty="0" smtClean="0">
                <a:solidFill>
                  <a:schemeClr val="tx1"/>
                </a:solidFill>
              </a:rPr>
              <a:t>&gt;</a:t>
            </a:r>
          </a:p>
          <a:p>
            <a:r>
              <a:rPr lang="de-DE" sz="400" dirty="0">
                <a:solidFill>
                  <a:schemeClr val="tx1"/>
                </a:solidFill>
              </a:rPr>
              <a:t> </a:t>
            </a:r>
            <a:r>
              <a:rPr lang="de-DE" sz="400" dirty="0" smtClean="0">
                <a:solidFill>
                  <a:schemeClr val="tx1"/>
                </a:solidFill>
              </a:rPr>
              <a:t>   &lt;</a:t>
            </a:r>
            <a:r>
              <a:rPr lang="de-DE" sz="400" dirty="0" err="1" smtClean="0">
                <a:solidFill>
                  <a:schemeClr val="tx1"/>
                </a:solidFill>
              </a:rPr>
              <a:t>head</a:t>
            </a:r>
            <a:r>
              <a:rPr lang="de-DE" sz="400" dirty="0" smtClean="0">
                <a:solidFill>
                  <a:schemeClr val="tx1"/>
                </a:solidFill>
              </a:rPr>
              <a:t>&gt;</a:t>
            </a:r>
          </a:p>
          <a:p>
            <a:r>
              <a:rPr lang="de-DE" sz="400" dirty="0">
                <a:solidFill>
                  <a:schemeClr val="tx1"/>
                </a:solidFill>
              </a:rPr>
              <a:t> </a:t>
            </a:r>
            <a:r>
              <a:rPr lang="de-DE" sz="400" dirty="0" smtClean="0">
                <a:solidFill>
                  <a:schemeClr val="tx1"/>
                </a:solidFill>
              </a:rPr>
              <a:t>       &lt;title&gt;</a:t>
            </a:r>
          </a:p>
          <a:p>
            <a:r>
              <a:rPr lang="de-DE" sz="400" dirty="0">
                <a:solidFill>
                  <a:schemeClr val="tx1"/>
                </a:solidFill>
              </a:rPr>
              <a:t> </a:t>
            </a:r>
            <a:r>
              <a:rPr lang="de-DE" sz="400" dirty="0" smtClean="0">
                <a:solidFill>
                  <a:schemeClr val="tx1"/>
                </a:solidFill>
              </a:rPr>
              <a:t>           Hallo Welt</a:t>
            </a:r>
          </a:p>
          <a:p>
            <a:r>
              <a:rPr lang="de-DE" sz="400" dirty="0">
                <a:solidFill>
                  <a:schemeClr val="tx1"/>
                </a:solidFill>
              </a:rPr>
              <a:t> </a:t>
            </a:r>
            <a:r>
              <a:rPr lang="de-DE" sz="400" dirty="0" smtClean="0">
                <a:solidFill>
                  <a:schemeClr val="tx1"/>
                </a:solidFill>
              </a:rPr>
              <a:t>       &lt;/title&gt;</a:t>
            </a:r>
          </a:p>
          <a:p>
            <a:r>
              <a:rPr lang="de-DE" sz="400" dirty="0">
                <a:solidFill>
                  <a:schemeClr val="tx1"/>
                </a:solidFill>
              </a:rPr>
              <a:t> </a:t>
            </a:r>
            <a:r>
              <a:rPr lang="de-DE" sz="400" dirty="0" smtClean="0">
                <a:solidFill>
                  <a:schemeClr val="tx1"/>
                </a:solidFill>
              </a:rPr>
              <a:t>   &lt;/</a:t>
            </a:r>
            <a:r>
              <a:rPr lang="de-DE" sz="400" dirty="0" err="1" smtClean="0">
                <a:solidFill>
                  <a:schemeClr val="tx1"/>
                </a:solidFill>
              </a:rPr>
              <a:t>head</a:t>
            </a:r>
            <a:r>
              <a:rPr lang="de-DE" sz="400" dirty="0" smtClean="0">
                <a:solidFill>
                  <a:schemeClr val="tx1"/>
                </a:solidFill>
              </a:rPr>
              <a:t>&gt;</a:t>
            </a:r>
          </a:p>
          <a:p>
            <a:r>
              <a:rPr lang="de-DE" sz="400" dirty="0">
                <a:solidFill>
                  <a:schemeClr val="tx1"/>
                </a:solidFill>
              </a:rPr>
              <a:t> </a:t>
            </a:r>
            <a:r>
              <a:rPr lang="de-DE" sz="400" dirty="0" smtClean="0">
                <a:solidFill>
                  <a:schemeClr val="tx1"/>
                </a:solidFill>
              </a:rPr>
              <a:t>   &lt;</a:t>
            </a:r>
            <a:r>
              <a:rPr lang="de-DE" sz="400" dirty="0" err="1" smtClean="0">
                <a:solidFill>
                  <a:schemeClr val="tx1"/>
                </a:solidFill>
              </a:rPr>
              <a:t>body</a:t>
            </a:r>
            <a:r>
              <a:rPr lang="de-DE" sz="400" dirty="0" smtClean="0">
                <a:solidFill>
                  <a:schemeClr val="tx1"/>
                </a:solidFill>
              </a:rPr>
              <a:t>&gt;</a:t>
            </a:r>
          </a:p>
          <a:p>
            <a:r>
              <a:rPr lang="de-DE" sz="400" dirty="0" smtClean="0">
                <a:solidFill>
                  <a:schemeClr val="tx1"/>
                </a:solidFill>
              </a:rPr>
              <a:t>        Hallo </a:t>
            </a:r>
            <a:r>
              <a:rPr lang="de-DE" sz="400" dirty="0">
                <a:solidFill>
                  <a:schemeClr val="tx1"/>
                </a:solidFill>
              </a:rPr>
              <a:t>Welt</a:t>
            </a:r>
          </a:p>
          <a:p>
            <a:r>
              <a:rPr lang="de-DE" sz="400" dirty="0" smtClean="0">
                <a:solidFill>
                  <a:schemeClr val="tx1"/>
                </a:solidFill>
              </a:rPr>
              <a:t>&lt;/</a:t>
            </a:r>
            <a:r>
              <a:rPr lang="de-DE" sz="400" dirty="0" err="1" smtClean="0">
                <a:solidFill>
                  <a:schemeClr val="tx1"/>
                </a:solidFill>
              </a:rPr>
              <a:t>body</a:t>
            </a:r>
            <a:r>
              <a:rPr lang="de-DE" sz="400" dirty="0" smtClean="0">
                <a:solidFill>
                  <a:schemeClr val="tx1"/>
                </a:solidFill>
              </a:rPr>
              <a:t>&gt;</a:t>
            </a:r>
            <a:endParaRPr lang="de-DE" sz="400" dirty="0">
              <a:solidFill>
                <a:schemeClr val="tx1"/>
              </a:solidFill>
            </a:endParaRPr>
          </a:p>
          <a:p>
            <a:r>
              <a:rPr lang="de-DE" sz="400" dirty="0" smtClean="0">
                <a:solidFill>
                  <a:schemeClr val="tx1"/>
                </a:solidFill>
              </a:rPr>
              <a:t>&lt;/</a:t>
            </a:r>
            <a:r>
              <a:rPr lang="de-DE" sz="400" dirty="0" err="1" smtClean="0">
                <a:solidFill>
                  <a:schemeClr val="tx1"/>
                </a:solidFill>
              </a:rPr>
              <a:t>html</a:t>
            </a:r>
            <a:r>
              <a:rPr lang="de-DE" sz="400" dirty="0" smtClean="0">
                <a:solidFill>
                  <a:schemeClr val="tx1"/>
                </a:solidFill>
              </a:rPr>
              <a:t>&gt;</a:t>
            </a:r>
            <a:endParaRPr lang="de-DE" sz="400" dirty="0" smtClean="0">
              <a:solidFill>
                <a:schemeClr val="tx1"/>
              </a:solidFill>
            </a:endParaRPr>
          </a:p>
        </p:txBody>
      </p:sp>
      <p:pic>
        <p:nvPicPr>
          <p:cNvPr id="5123" name="Picture 3" descr="Bildergebnis fÃ¼r hello world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9600" y="1647980"/>
            <a:ext cx="1355932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Ellipse 27">
            <a:extLst>
              <a:ext uri="{FF2B5EF4-FFF2-40B4-BE49-F238E27FC236}">
                <a16:creationId xmlns:a16="http://schemas.microsoft.com/office/drawing/2014/main" xmlns="" id="{7FB5B9D4-CD39-4A2D-92C5-3CC94F386CB3}"/>
              </a:ext>
            </a:extLst>
          </p:cNvPr>
          <p:cNvSpPr/>
          <p:nvPr/>
        </p:nvSpPr>
        <p:spPr>
          <a:xfrm>
            <a:off x="786293" y="2571953"/>
            <a:ext cx="360000" cy="360000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 smtClean="0">
                <a:solidFill>
                  <a:schemeClr val="bg1"/>
                </a:solidFill>
              </a:rPr>
              <a:t>1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xmlns="" id="{7FB5B9D4-CD39-4A2D-92C5-3CC94F386CB3}"/>
              </a:ext>
            </a:extLst>
          </p:cNvPr>
          <p:cNvSpPr/>
          <p:nvPr/>
        </p:nvSpPr>
        <p:spPr>
          <a:xfrm>
            <a:off x="784707" y="3022803"/>
            <a:ext cx="360000" cy="360000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 smtClean="0">
                <a:solidFill>
                  <a:schemeClr val="bg1"/>
                </a:solidFill>
              </a:rPr>
              <a:t>2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xmlns="" id="{7FB5B9D4-CD39-4A2D-92C5-3CC94F386CB3}"/>
              </a:ext>
            </a:extLst>
          </p:cNvPr>
          <p:cNvSpPr/>
          <p:nvPr/>
        </p:nvSpPr>
        <p:spPr>
          <a:xfrm>
            <a:off x="784093" y="3457006"/>
            <a:ext cx="360000" cy="360000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solidFill>
                  <a:schemeClr val="bg1"/>
                </a:solidFill>
              </a:rPr>
              <a:t>3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xmlns="" id="{7FB5B9D4-CD39-4A2D-92C5-3CC94F386CB3}"/>
              </a:ext>
            </a:extLst>
          </p:cNvPr>
          <p:cNvSpPr/>
          <p:nvPr/>
        </p:nvSpPr>
        <p:spPr>
          <a:xfrm>
            <a:off x="783992" y="3888806"/>
            <a:ext cx="360000" cy="360000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 smtClean="0">
                <a:solidFill>
                  <a:schemeClr val="bg1"/>
                </a:solidFill>
              </a:rPr>
              <a:t>4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32" name="Ellipse 31">
            <a:extLst>
              <a:ext uri="{FF2B5EF4-FFF2-40B4-BE49-F238E27FC236}">
                <a16:creationId xmlns:a16="http://schemas.microsoft.com/office/drawing/2014/main" xmlns="" id="{7FB5B9D4-CD39-4A2D-92C5-3CC94F386CB3}"/>
              </a:ext>
            </a:extLst>
          </p:cNvPr>
          <p:cNvSpPr/>
          <p:nvPr/>
        </p:nvSpPr>
        <p:spPr>
          <a:xfrm>
            <a:off x="4421901" y="2544353"/>
            <a:ext cx="360000" cy="360000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 smtClean="0">
                <a:solidFill>
                  <a:schemeClr val="bg1"/>
                </a:solidFill>
              </a:rPr>
              <a:t>1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33" name="Ellipse 32">
            <a:extLst>
              <a:ext uri="{FF2B5EF4-FFF2-40B4-BE49-F238E27FC236}">
                <a16:creationId xmlns:a16="http://schemas.microsoft.com/office/drawing/2014/main" xmlns="" id="{7FB5B9D4-CD39-4A2D-92C5-3CC94F386CB3}"/>
              </a:ext>
            </a:extLst>
          </p:cNvPr>
          <p:cNvSpPr/>
          <p:nvPr/>
        </p:nvSpPr>
        <p:spPr>
          <a:xfrm>
            <a:off x="4420315" y="2995203"/>
            <a:ext cx="360000" cy="360000"/>
          </a:xfrm>
          <a:prstGeom prst="ellipse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 smtClean="0">
                <a:solidFill>
                  <a:schemeClr val="bg1"/>
                </a:solidFill>
              </a:rPr>
              <a:t>2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34" name="Ellipse 33">
            <a:extLst>
              <a:ext uri="{FF2B5EF4-FFF2-40B4-BE49-F238E27FC236}">
                <a16:creationId xmlns:a16="http://schemas.microsoft.com/office/drawing/2014/main" xmlns="" id="{7FB5B9D4-CD39-4A2D-92C5-3CC94F386CB3}"/>
              </a:ext>
            </a:extLst>
          </p:cNvPr>
          <p:cNvSpPr/>
          <p:nvPr/>
        </p:nvSpPr>
        <p:spPr>
          <a:xfrm>
            <a:off x="4419701" y="3429406"/>
            <a:ext cx="360000" cy="360000"/>
          </a:xfrm>
          <a:prstGeom prst="ellipse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solidFill>
                  <a:schemeClr val="bg1"/>
                </a:solidFill>
              </a:rPr>
              <a:t>3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35" name="Ellipse 34">
            <a:extLst>
              <a:ext uri="{FF2B5EF4-FFF2-40B4-BE49-F238E27FC236}">
                <a16:creationId xmlns:a16="http://schemas.microsoft.com/office/drawing/2014/main" xmlns="" id="{7FB5B9D4-CD39-4A2D-92C5-3CC94F386CB3}"/>
              </a:ext>
            </a:extLst>
          </p:cNvPr>
          <p:cNvSpPr/>
          <p:nvPr/>
        </p:nvSpPr>
        <p:spPr>
          <a:xfrm>
            <a:off x="4419600" y="3861206"/>
            <a:ext cx="360000" cy="360000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 smtClean="0">
                <a:solidFill>
                  <a:schemeClr val="bg1"/>
                </a:solidFill>
              </a:rPr>
              <a:t>4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27" name="Textfeld 26"/>
          <p:cNvSpPr txBox="1"/>
          <p:nvPr/>
        </p:nvSpPr>
        <p:spPr>
          <a:xfrm>
            <a:off x="1384248" y="2530109"/>
            <a:ext cx="2857551" cy="3600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de-DE" sz="1200" dirty="0" smtClean="0">
                <a:solidFill>
                  <a:srgbClr val="344046"/>
                </a:solidFill>
              </a:rPr>
              <a:t>Server </a:t>
            </a:r>
            <a:r>
              <a:rPr lang="de-DE" sz="1200" dirty="0" err="1" smtClean="0">
                <a:solidFill>
                  <a:srgbClr val="344046"/>
                </a:solidFill>
              </a:rPr>
              <a:t>sending</a:t>
            </a:r>
            <a:r>
              <a:rPr lang="de-DE" sz="1200" dirty="0" smtClean="0">
                <a:solidFill>
                  <a:srgbClr val="344046"/>
                </a:solidFill>
              </a:rPr>
              <a:t> Response </a:t>
            </a:r>
            <a:r>
              <a:rPr lang="de-DE" sz="1200" dirty="0" err="1" smtClean="0">
                <a:solidFill>
                  <a:srgbClr val="344046"/>
                </a:solidFill>
              </a:rPr>
              <a:t>to</a:t>
            </a:r>
            <a:r>
              <a:rPr lang="de-DE" sz="1200" dirty="0" smtClean="0">
                <a:solidFill>
                  <a:srgbClr val="344046"/>
                </a:solidFill>
              </a:rPr>
              <a:t> Browser</a:t>
            </a:r>
            <a:endParaRPr lang="de-DE" sz="1200" dirty="0" smtClean="0">
              <a:solidFill>
                <a:srgbClr val="344046"/>
              </a:solidFill>
            </a:endParaRPr>
          </a:p>
        </p:txBody>
      </p:sp>
      <p:sp>
        <p:nvSpPr>
          <p:cNvPr id="37" name="Textfeld 36"/>
          <p:cNvSpPr txBox="1"/>
          <p:nvPr/>
        </p:nvSpPr>
        <p:spPr>
          <a:xfrm>
            <a:off x="1384248" y="2995203"/>
            <a:ext cx="2857551" cy="3600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de-DE" sz="1200" dirty="0" smtClean="0">
                <a:solidFill>
                  <a:srgbClr val="344046"/>
                </a:solidFill>
              </a:rPr>
              <a:t>Browser </a:t>
            </a:r>
            <a:r>
              <a:rPr lang="de-DE" sz="1200" dirty="0" err="1" smtClean="0">
                <a:solidFill>
                  <a:srgbClr val="344046"/>
                </a:solidFill>
              </a:rPr>
              <a:t>downloads</a:t>
            </a:r>
            <a:r>
              <a:rPr lang="de-DE" sz="1200" dirty="0" smtClean="0">
                <a:solidFill>
                  <a:srgbClr val="344046"/>
                </a:solidFill>
              </a:rPr>
              <a:t> JS</a:t>
            </a:r>
            <a:endParaRPr lang="de-DE" sz="1200" dirty="0" smtClean="0">
              <a:solidFill>
                <a:srgbClr val="344046"/>
              </a:solidFill>
            </a:endParaRPr>
          </a:p>
        </p:txBody>
      </p:sp>
      <p:sp>
        <p:nvSpPr>
          <p:cNvPr id="38" name="Textfeld 37"/>
          <p:cNvSpPr txBox="1"/>
          <p:nvPr/>
        </p:nvSpPr>
        <p:spPr>
          <a:xfrm>
            <a:off x="1478228" y="3821562"/>
            <a:ext cx="2857551" cy="3600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de-DE" sz="1200" dirty="0" smtClean="0">
                <a:solidFill>
                  <a:srgbClr val="344046"/>
                </a:solidFill>
              </a:rPr>
              <a:t>Page </a:t>
            </a:r>
            <a:r>
              <a:rPr lang="de-DE" sz="1200" dirty="0" err="1" smtClean="0">
                <a:solidFill>
                  <a:srgbClr val="344046"/>
                </a:solidFill>
              </a:rPr>
              <a:t>now</a:t>
            </a:r>
            <a:r>
              <a:rPr lang="de-DE" sz="1200" dirty="0" smtClean="0">
                <a:solidFill>
                  <a:srgbClr val="344046"/>
                </a:solidFill>
              </a:rPr>
              <a:t> </a:t>
            </a:r>
            <a:r>
              <a:rPr lang="de-DE" sz="1200" dirty="0" err="1" smtClean="0">
                <a:solidFill>
                  <a:srgbClr val="344046"/>
                </a:solidFill>
              </a:rPr>
              <a:t>viewable</a:t>
            </a:r>
            <a:r>
              <a:rPr lang="de-DE" sz="1200" dirty="0" smtClean="0">
                <a:solidFill>
                  <a:srgbClr val="344046"/>
                </a:solidFill>
              </a:rPr>
              <a:t> </a:t>
            </a:r>
            <a:r>
              <a:rPr lang="de-DE" sz="1200" dirty="0" err="1" smtClean="0">
                <a:solidFill>
                  <a:srgbClr val="344046"/>
                </a:solidFill>
              </a:rPr>
              <a:t>and</a:t>
            </a:r>
            <a:r>
              <a:rPr lang="de-DE" sz="1200" dirty="0" smtClean="0">
                <a:solidFill>
                  <a:srgbClr val="344046"/>
                </a:solidFill>
              </a:rPr>
              <a:t> </a:t>
            </a:r>
            <a:r>
              <a:rPr lang="de-DE" sz="1200" dirty="0" err="1" smtClean="0">
                <a:solidFill>
                  <a:srgbClr val="344046"/>
                </a:solidFill>
              </a:rPr>
              <a:t>interactable</a:t>
            </a:r>
            <a:endParaRPr lang="de-DE" sz="1200" dirty="0" smtClean="0">
              <a:solidFill>
                <a:srgbClr val="344046"/>
              </a:solidFill>
            </a:endParaRPr>
          </a:p>
        </p:txBody>
      </p:sp>
      <p:sp>
        <p:nvSpPr>
          <p:cNvPr id="39" name="Textfeld 38"/>
          <p:cNvSpPr txBox="1"/>
          <p:nvPr/>
        </p:nvSpPr>
        <p:spPr>
          <a:xfrm>
            <a:off x="1478227" y="3358215"/>
            <a:ext cx="2857551" cy="3600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de-DE" sz="1200" dirty="0" smtClean="0">
                <a:solidFill>
                  <a:srgbClr val="344046"/>
                </a:solidFill>
              </a:rPr>
              <a:t>Browser </a:t>
            </a:r>
            <a:r>
              <a:rPr lang="de-DE" sz="1200" dirty="0" err="1" smtClean="0">
                <a:solidFill>
                  <a:srgbClr val="344046"/>
                </a:solidFill>
              </a:rPr>
              <a:t>executes</a:t>
            </a:r>
            <a:r>
              <a:rPr lang="de-DE" sz="1200" dirty="0" smtClean="0">
                <a:solidFill>
                  <a:srgbClr val="344046"/>
                </a:solidFill>
              </a:rPr>
              <a:t> </a:t>
            </a:r>
            <a:r>
              <a:rPr lang="de-DE" sz="1200" dirty="0" err="1" smtClean="0">
                <a:solidFill>
                  <a:srgbClr val="344046"/>
                </a:solidFill>
              </a:rPr>
              <a:t>React</a:t>
            </a:r>
            <a:endParaRPr lang="de-DE" sz="1200" dirty="0" smtClean="0">
              <a:solidFill>
                <a:srgbClr val="344046"/>
              </a:solidFill>
            </a:endParaRPr>
          </a:p>
        </p:txBody>
      </p:sp>
      <p:sp>
        <p:nvSpPr>
          <p:cNvPr id="40" name="Textfeld 39"/>
          <p:cNvSpPr txBox="1"/>
          <p:nvPr/>
        </p:nvSpPr>
        <p:spPr>
          <a:xfrm>
            <a:off x="4997398" y="2574762"/>
            <a:ext cx="2857551" cy="3600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de-DE" sz="1200" dirty="0" smtClean="0">
                <a:solidFill>
                  <a:srgbClr val="344046"/>
                </a:solidFill>
              </a:rPr>
              <a:t>Server </a:t>
            </a:r>
            <a:r>
              <a:rPr lang="de-DE" sz="1200" dirty="0" err="1" smtClean="0">
                <a:solidFill>
                  <a:srgbClr val="344046"/>
                </a:solidFill>
              </a:rPr>
              <a:t>sending</a:t>
            </a:r>
            <a:r>
              <a:rPr lang="de-DE" sz="1200" dirty="0" smtClean="0">
                <a:solidFill>
                  <a:srgbClr val="344046"/>
                </a:solidFill>
              </a:rPr>
              <a:t> </a:t>
            </a:r>
            <a:r>
              <a:rPr lang="de-DE" sz="1200" dirty="0" err="1" smtClean="0">
                <a:solidFill>
                  <a:srgbClr val="344046"/>
                </a:solidFill>
              </a:rPr>
              <a:t>Ready</a:t>
            </a:r>
            <a:r>
              <a:rPr lang="de-DE" sz="1200" dirty="0" smtClean="0">
                <a:solidFill>
                  <a:srgbClr val="344046"/>
                </a:solidFill>
              </a:rPr>
              <a:t> </a:t>
            </a:r>
            <a:r>
              <a:rPr lang="de-DE" sz="1200" dirty="0" err="1" smtClean="0">
                <a:solidFill>
                  <a:srgbClr val="344046"/>
                </a:solidFill>
              </a:rPr>
              <a:t>to</a:t>
            </a:r>
            <a:r>
              <a:rPr lang="de-DE" sz="1200" dirty="0" smtClean="0">
                <a:solidFill>
                  <a:srgbClr val="344046"/>
                </a:solidFill>
              </a:rPr>
              <a:t> </a:t>
            </a:r>
            <a:r>
              <a:rPr lang="de-DE" sz="1200" dirty="0" err="1" smtClean="0">
                <a:solidFill>
                  <a:srgbClr val="344046"/>
                </a:solidFill>
              </a:rPr>
              <a:t>be</a:t>
            </a:r>
            <a:r>
              <a:rPr lang="de-DE" sz="1200" dirty="0" smtClean="0">
                <a:solidFill>
                  <a:srgbClr val="344046"/>
                </a:solidFill>
              </a:rPr>
              <a:t> </a:t>
            </a:r>
            <a:r>
              <a:rPr lang="de-DE" sz="1200" dirty="0" err="1" smtClean="0">
                <a:solidFill>
                  <a:srgbClr val="344046"/>
                </a:solidFill>
              </a:rPr>
              <a:t>rendered</a:t>
            </a:r>
            <a:r>
              <a:rPr lang="de-DE" sz="1200" dirty="0" smtClean="0">
                <a:solidFill>
                  <a:srgbClr val="344046"/>
                </a:solidFill>
              </a:rPr>
              <a:t> HTML Response </a:t>
            </a:r>
            <a:r>
              <a:rPr lang="de-DE" sz="1200" dirty="0" err="1" smtClean="0">
                <a:solidFill>
                  <a:srgbClr val="344046"/>
                </a:solidFill>
              </a:rPr>
              <a:t>to</a:t>
            </a:r>
            <a:r>
              <a:rPr lang="de-DE" sz="1200" dirty="0" smtClean="0">
                <a:solidFill>
                  <a:srgbClr val="344046"/>
                </a:solidFill>
              </a:rPr>
              <a:t> Browser</a:t>
            </a:r>
            <a:endParaRPr lang="de-DE" sz="1200" dirty="0" smtClean="0">
              <a:solidFill>
                <a:srgbClr val="344046"/>
              </a:solidFill>
            </a:endParaRPr>
          </a:p>
        </p:txBody>
      </p:sp>
      <p:sp>
        <p:nvSpPr>
          <p:cNvPr id="41" name="Textfeld 40"/>
          <p:cNvSpPr txBox="1"/>
          <p:nvPr/>
        </p:nvSpPr>
        <p:spPr>
          <a:xfrm>
            <a:off x="4997398" y="3039856"/>
            <a:ext cx="2857551" cy="3600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de-DE" sz="1200" dirty="0" smtClean="0">
                <a:solidFill>
                  <a:srgbClr val="344046"/>
                </a:solidFill>
              </a:rPr>
              <a:t>Browser </a:t>
            </a:r>
            <a:r>
              <a:rPr lang="de-DE" sz="1200" dirty="0" err="1" smtClean="0">
                <a:solidFill>
                  <a:srgbClr val="344046"/>
                </a:solidFill>
              </a:rPr>
              <a:t>renders</a:t>
            </a:r>
            <a:r>
              <a:rPr lang="de-DE" sz="1200" dirty="0" smtClean="0">
                <a:solidFill>
                  <a:srgbClr val="344046"/>
                </a:solidFill>
              </a:rPr>
              <a:t> </a:t>
            </a:r>
            <a:r>
              <a:rPr lang="de-DE" sz="1200" dirty="0" err="1" smtClean="0">
                <a:solidFill>
                  <a:srgbClr val="344046"/>
                </a:solidFill>
              </a:rPr>
              <a:t>page</a:t>
            </a:r>
            <a:r>
              <a:rPr lang="de-DE" sz="1200" dirty="0" smtClean="0">
                <a:solidFill>
                  <a:srgbClr val="344046"/>
                </a:solidFill>
              </a:rPr>
              <a:t>, </a:t>
            </a:r>
            <a:r>
              <a:rPr lang="de-DE" sz="1200" dirty="0" err="1" smtClean="0">
                <a:solidFill>
                  <a:srgbClr val="344046"/>
                </a:solidFill>
              </a:rPr>
              <a:t>now</a:t>
            </a:r>
            <a:r>
              <a:rPr lang="de-DE" sz="1200" dirty="0" smtClean="0">
                <a:solidFill>
                  <a:srgbClr val="344046"/>
                </a:solidFill>
              </a:rPr>
              <a:t> </a:t>
            </a:r>
            <a:r>
              <a:rPr lang="de-DE" sz="1200" dirty="0" err="1" smtClean="0">
                <a:solidFill>
                  <a:srgbClr val="344046"/>
                </a:solidFill>
              </a:rPr>
              <a:t>viewable</a:t>
            </a:r>
            <a:r>
              <a:rPr lang="de-DE" sz="1200" dirty="0" smtClean="0">
                <a:solidFill>
                  <a:srgbClr val="344046"/>
                </a:solidFill>
              </a:rPr>
              <a:t>, </a:t>
            </a:r>
            <a:r>
              <a:rPr lang="de-DE" sz="1200" dirty="0" err="1" smtClean="0">
                <a:solidFill>
                  <a:srgbClr val="344046"/>
                </a:solidFill>
              </a:rPr>
              <a:t>and</a:t>
            </a:r>
            <a:r>
              <a:rPr lang="de-DE" sz="1200" dirty="0" smtClean="0">
                <a:solidFill>
                  <a:srgbClr val="344046"/>
                </a:solidFill>
              </a:rPr>
              <a:t> </a:t>
            </a:r>
            <a:r>
              <a:rPr lang="de-DE" sz="1200" dirty="0" err="1" smtClean="0">
                <a:solidFill>
                  <a:srgbClr val="344046"/>
                </a:solidFill>
              </a:rPr>
              <a:t>browser</a:t>
            </a:r>
            <a:r>
              <a:rPr lang="de-DE" sz="1200" dirty="0" smtClean="0">
                <a:solidFill>
                  <a:srgbClr val="344046"/>
                </a:solidFill>
              </a:rPr>
              <a:t> </a:t>
            </a:r>
            <a:r>
              <a:rPr lang="de-DE" sz="1200" dirty="0" err="1" smtClean="0">
                <a:solidFill>
                  <a:srgbClr val="344046"/>
                </a:solidFill>
              </a:rPr>
              <a:t>downloads</a:t>
            </a:r>
            <a:r>
              <a:rPr lang="de-DE" sz="1200" dirty="0" smtClean="0">
                <a:solidFill>
                  <a:srgbClr val="344046"/>
                </a:solidFill>
              </a:rPr>
              <a:t> JS</a:t>
            </a:r>
            <a:endParaRPr lang="de-DE" sz="1200" dirty="0" smtClean="0">
              <a:solidFill>
                <a:srgbClr val="344046"/>
              </a:solidFill>
            </a:endParaRPr>
          </a:p>
        </p:txBody>
      </p:sp>
      <p:sp>
        <p:nvSpPr>
          <p:cNvPr id="42" name="Textfeld 41"/>
          <p:cNvSpPr txBox="1"/>
          <p:nvPr/>
        </p:nvSpPr>
        <p:spPr>
          <a:xfrm>
            <a:off x="5091378" y="3866215"/>
            <a:ext cx="2857551" cy="3600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de-DE" sz="1200" dirty="0" smtClean="0">
                <a:solidFill>
                  <a:srgbClr val="344046"/>
                </a:solidFill>
              </a:rPr>
              <a:t>Page </a:t>
            </a:r>
            <a:r>
              <a:rPr lang="de-DE" sz="1200" dirty="0" err="1" smtClean="0">
                <a:solidFill>
                  <a:srgbClr val="344046"/>
                </a:solidFill>
              </a:rPr>
              <a:t>now</a:t>
            </a:r>
            <a:r>
              <a:rPr lang="de-DE" sz="1200" dirty="0" smtClean="0">
                <a:solidFill>
                  <a:srgbClr val="344046"/>
                </a:solidFill>
              </a:rPr>
              <a:t> </a:t>
            </a:r>
            <a:r>
              <a:rPr lang="de-DE" sz="1200" dirty="0" err="1" smtClean="0">
                <a:solidFill>
                  <a:srgbClr val="344046"/>
                </a:solidFill>
              </a:rPr>
              <a:t>interactable</a:t>
            </a:r>
            <a:endParaRPr lang="de-DE" sz="1200" dirty="0" smtClean="0">
              <a:solidFill>
                <a:srgbClr val="344046"/>
              </a:solidFill>
            </a:endParaRPr>
          </a:p>
        </p:txBody>
      </p:sp>
      <p:sp>
        <p:nvSpPr>
          <p:cNvPr id="43" name="Textfeld 42"/>
          <p:cNvSpPr txBox="1"/>
          <p:nvPr/>
        </p:nvSpPr>
        <p:spPr>
          <a:xfrm>
            <a:off x="5091377" y="3402868"/>
            <a:ext cx="2857551" cy="3600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de-DE" sz="1200" dirty="0" smtClean="0">
                <a:solidFill>
                  <a:srgbClr val="344046"/>
                </a:solidFill>
              </a:rPr>
              <a:t>Browser </a:t>
            </a:r>
            <a:r>
              <a:rPr lang="de-DE" sz="1200" dirty="0" err="1" smtClean="0">
                <a:solidFill>
                  <a:srgbClr val="344046"/>
                </a:solidFill>
              </a:rPr>
              <a:t>executes</a:t>
            </a:r>
            <a:r>
              <a:rPr lang="de-DE" sz="1200" dirty="0" smtClean="0">
                <a:solidFill>
                  <a:srgbClr val="344046"/>
                </a:solidFill>
              </a:rPr>
              <a:t> </a:t>
            </a:r>
            <a:r>
              <a:rPr lang="de-DE" sz="1200" dirty="0" err="1" smtClean="0">
                <a:solidFill>
                  <a:srgbClr val="344046"/>
                </a:solidFill>
              </a:rPr>
              <a:t>React</a:t>
            </a:r>
            <a:endParaRPr lang="de-DE" sz="1200" dirty="0" smtClean="0">
              <a:solidFill>
                <a:srgbClr val="344046"/>
              </a:solidFill>
            </a:endParaRPr>
          </a:p>
        </p:txBody>
      </p:sp>
      <p:sp>
        <p:nvSpPr>
          <p:cNvPr id="44" name="Textfeld 43"/>
          <p:cNvSpPr txBox="1"/>
          <p:nvPr/>
        </p:nvSpPr>
        <p:spPr>
          <a:xfrm>
            <a:off x="3955034" y="1108143"/>
            <a:ext cx="380744" cy="231396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de-DE" sz="1100" b="1" dirty="0" smtClean="0">
                <a:solidFill>
                  <a:schemeClr val="tx2"/>
                </a:solidFill>
              </a:rPr>
              <a:t>http</a:t>
            </a:r>
            <a:endParaRPr lang="de-DE" sz="1100" b="1" dirty="0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3829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">
            <a:extLst>
              <a:ext uri="{FF2B5EF4-FFF2-40B4-BE49-F238E27FC236}">
                <a16:creationId xmlns:a16="http://schemas.microsoft.com/office/drawing/2014/main" xmlns="" id="{02E1418F-13E9-4DD1-A436-757FB376FACC}"/>
              </a:ext>
            </a:extLst>
          </p:cNvPr>
          <p:cNvSpPr txBox="1">
            <a:spLocks/>
          </p:cNvSpPr>
          <p:nvPr/>
        </p:nvSpPr>
        <p:spPr>
          <a:xfrm>
            <a:off x="214313" y="-162797"/>
            <a:ext cx="8715375" cy="40888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de-DE" sz="1800" dirty="0">
              <a:solidFill>
                <a:schemeClr val="accent1"/>
              </a:solidFill>
            </a:endParaRPr>
          </a:p>
        </p:txBody>
      </p:sp>
      <p:sp>
        <p:nvSpPr>
          <p:cNvPr id="23" name="Titel 22">
            <a:extLst>
              <a:ext uri="{FF2B5EF4-FFF2-40B4-BE49-F238E27FC236}">
                <a16:creationId xmlns:a16="http://schemas.microsoft.com/office/drawing/2014/main" xmlns="" id="{0F8728F2-FADF-46A9-8EB9-8EDE7B5674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cs typeface="Calibri" pitchFamily="34" charset="0"/>
              </a:rPr>
              <a:t>Server Side Rendering | Vor- &amp; Nachteile</a:t>
            </a:r>
            <a:endParaRPr lang="de-DE" b="0" dirty="0"/>
          </a:p>
        </p:txBody>
      </p:sp>
      <p:graphicFrame>
        <p:nvGraphicFramePr>
          <p:cNvPr id="2" name="Tabel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035724"/>
              </p:ext>
            </p:extLst>
          </p:nvPr>
        </p:nvGraphicFramePr>
        <p:xfrm>
          <a:off x="252412" y="863600"/>
          <a:ext cx="7200000" cy="282041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00000"/>
                <a:gridCol w="3600000"/>
              </a:tblGrid>
              <a:tr h="138093">
                <a:tc>
                  <a:txBody>
                    <a:bodyPr/>
                    <a:lstStyle/>
                    <a:p>
                      <a:r>
                        <a:rPr lang="de-DE" sz="1300" dirty="0" smtClean="0"/>
                        <a:t>Vorteile</a:t>
                      </a:r>
                      <a:endParaRPr lang="de-DE" sz="1300" dirty="0"/>
                    </a:p>
                  </a:txBody>
                  <a:tcPr marL="65365" marR="65365" marT="32683" marB="32683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300" dirty="0" smtClean="0"/>
                        <a:t>Nachteile</a:t>
                      </a:r>
                      <a:endParaRPr lang="de-DE" sz="1300" dirty="0"/>
                    </a:p>
                  </a:txBody>
                  <a:tcPr marL="65365" marR="65365" marT="32683" marB="3268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57557"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300" kern="1200" dirty="0" smtClean="0">
                          <a:effectLst/>
                        </a:rPr>
                        <a:t>Search engines can crawl the site for better SEO.</a:t>
                      </a:r>
                      <a:endParaRPr lang="en-US" sz="1300" b="0" i="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5365" marR="65365" marT="32683" marB="32683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300" dirty="0" err="1" smtClean="0"/>
                        <a:t>Frequent</a:t>
                      </a:r>
                      <a:r>
                        <a:rPr lang="de-DE" sz="1300" dirty="0" smtClean="0"/>
                        <a:t> Server </a:t>
                      </a:r>
                      <a:r>
                        <a:rPr lang="de-DE" sz="1300" dirty="0" err="1" smtClean="0"/>
                        <a:t>Requests</a:t>
                      </a:r>
                      <a:endParaRPr lang="de-DE" sz="1300" dirty="0"/>
                    </a:p>
                  </a:txBody>
                  <a:tcPr marL="65365" marR="65365" marT="32683" marB="3268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57557"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300" kern="1200" dirty="0" smtClean="0">
                          <a:effectLst/>
                        </a:rPr>
                        <a:t>The initial page load is faster.</a:t>
                      </a:r>
                      <a:endParaRPr lang="en-US" sz="1300" b="0" i="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5365" marR="65365" marT="32683" marB="32683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300" dirty="0" err="1" smtClean="0"/>
                        <a:t>Full</a:t>
                      </a:r>
                      <a:r>
                        <a:rPr lang="de-DE" sz="1300" dirty="0" smtClean="0"/>
                        <a:t> Page </a:t>
                      </a:r>
                      <a:r>
                        <a:rPr lang="de-DE" sz="1300" dirty="0" err="1" smtClean="0"/>
                        <a:t>Reloads</a:t>
                      </a:r>
                      <a:endParaRPr lang="de-DE" sz="1300" dirty="0"/>
                    </a:p>
                  </a:txBody>
                  <a:tcPr marL="65365" marR="65365" marT="32683" marB="3268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65093"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1300" kern="1200" dirty="0" smtClean="0">
                          <a:effectLst/>
                        </a:rPr>
                        <a:t>Great </a:t>
                      </a:r>
                      <a:r>
                        <a:rPr lang="de-DE" sz="1300" kern="1200" dirty="0" err="1" smtClean="0">
                          <a:effectLst/>
                        </a:rPr>
                        <a:t>for</a:t>
                      </a:r>
                      <a:r>
                        <a:rPr lang="de-DE" sz="1300" kern="1200" dirty="0" smtClean="0">
                          <a:effectLst/>
                        </a:rPr>
                        <a:t> </a:t>
                      </a:r>
                      <a:r>
                        <a:rPr lang="de-DE" sz="1300" kern="1200" dirty="0" err="1" smtClean="0">
                          <a:effectLst/>
                        </a:rPr>
                        <a:t>static</a:t>
                      </a:r>
                      <a:r>
                        <a:rPr lang="de-DE" sz="1300" kern="1200" dirty="0" smtClean="0">
                          <a:effectLst/>
                        </a:rPr>
                        <a:t> </a:t>
                      </a:r>
                      <a:r>
                        <a:rPr lang="de-DE" sz="1300" kern="1200" dirty="0" err="1" smtClean="0">
                          <a:effectLst/>
                        </a:rPr>
                        <a:t>sites</a:t>
                      </a:r>
                      <a:r>
                        <a:rPr lang="de-DE" sz="1300" kern="1200" dirty="0" smtClean="0">
                          <a:effectLst/>
                        </a:rPr>
                        <a:t>.</a:t>
                      </a:r>
                    </a:p>
                  </a:txBody>
                  <a:tcPr marL="65365" marR="65365" marT="32683" marB="32683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1300" kern="1200" dirty="0" smtClean="0">
                          <a:effectLst/>
                        </a:rPr>
                        <a:t>Non-</a:t>
                      </a:r>
                      <a:r>
                        <a:rPr lang="de-DE" sz="1300" kern="1200" dirty="0" err="1" smtClean="0">
                          <a:effectLst/>
                        </a:rPr>
                        <a:t>rich</a:t>
                      </a:r>
                      <a:r>
                        <a:rPr lang="de-DE" sz="1300" kern="1200" dirty="0" smtClean="0">
                          <a:effectLst/>
                        </a:rPr>
                        <a:t> </a:t>
                      </a:r>
                      <a:r>
                        <a:rPr lang="de-DE" sz="1300" kern="1200" dirty="0" err="1" smtClean="0">
                          <a:effectLst/>
                        </a:rPr>
                        <a:t>site</a:t>
                      </a:r>
                      <a:r>
                        <a:rPr lang="de-DE" sz="1300" kern="1200" dirty="0" smtClean="0">
                          <a:effectLst/>
                        </a:rPr>
                        <a:t> </a:t>
                      </a:r>
                      <a:r>
                        <a:rPr lang="de-DE" sz="1300" kern="1200" dirty="0" err="1" smtClean="0">
                          <a:effectLst/>
                        </a:rPr>
                        <a:t>interactions</a:t>
                      </a:r>
                      <a:r>
                        <a:rPr lang="de-DE" sz="1300" kern="1200" dirty="0" smtClean="0">
                          <a:effectLst/>
                        </a:rPr>
                        <a:t>.</a:t>
                      </a:r>
                      <a:endParaRPr lang="de-DE" sz="1300" b="0" i="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5365" marR="65365" marT="32683" marB="3268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57557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300" dirty="0" smtClean="0"/>
                        <a:t>User </a:t>
                      </a:r>
                      <a:r>
                        <a:rPr lang="de-DE" sz="1300" dirty="0" err="1" smtClean="0"/>
                        <a:t>can</a:t>
                      </a:r>
                      <a:r>
                        <a:rPr lang="de-DE" sz="1300" dirty="0" smtClean="0"/>
                        <a:t> </a:t>
                      </a:r>
                      <a:r>
                        <a:rPr lang="de-DE" sz="1300" dirty="0" err="1" smtClean="0"/>
                        <a:t>see</a:t>
                      </a:r>
                      <a:r>
                        <a:rPr lang="de-DE" sz="1300" dirty="0" smtClean="0"/>
                        <a:t> </a:t>
                      </a:r>
                      <a:r>
                        <a:rPr lang="de-DE" sz="1300" dirty="0" err="1" smtClean="0"/>
                        <a:t>site</a:t>
                      </a:r>
                      <a:r>
                        <a:rPr lang="de-DE" sz="1300" dirty="0" smtClean="0"/>
                        <a:t> </a:t>
                      </a:r>
                      <a:r>
                        <a:rPr lang="de-DE" sz="1300" dirty="0" err="1" smtClean="0"/>
                        <a:t>before</a:t>
                      </a:r>
                      <a:r>
                        <a:rPr lang="de-DE" sz="1300" dirty="0" smtClean="0"/>
                        <a:t> </a:t>
                      </a:r>
                      <a:r>
                        <a:rPr lang="de-DE" sz="1300" dirty="0" err="1" smtClean="0"/>
                        <a:t>interacting</a:t>
                      </a:r>
                      <a:endParaRPr lang="de-DE" sz="1300" dirty="0"/>
                    </a:p>
                  </a:txBody>
                  <a:tcPr marL="65365" marR="65365" marT="32683" marB="32683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300" dirty="0" smtClean="0"/>
                        <a:t>SSR TTFB </a:t>
                      </a:r>
                      <a:r>
                        <a:rPr lang="de-DE" sz="1300" dirty="0" err="1" smtClean="0"/>
                        <a:t>is</a:t>
                      </a:r>
                      <a:r>
                        <a:rPr lang="de-DE" sz="1300" dirty="0" smtClean="0"/>
                        <a:t> </a:t>
                      </a:r>
                      <a:r>
                        <a:rPr lang="de-DE" sz="1300" dirty="0" err="1" smtClean="0"/>
                        <a:t>slower</a:t>
                      </a:r>
                      <a:r>
                        <a:rPr lang="de-DE" sz="1300" dirty="0" smtClean="0"/>
                        <a:t> </a:t>
                      </a:r>
                      <a:r>
                        <a:rPr lang="de-DE" sz="1300" dirty="0" err="1" smtClean="0"/>
                        <a:t>than</a:t>
                      </a:r>
                      <a:r>
                        <a:rPr lang="de-DE" sz="1300" dirty="0" smtClean="0"/>
                        <a:t> CSR</a:t>
                      </a:r>
                      <a:endParaRPr lang="de-DE" sz="1300" dirty="0"/>
                    </a:p>
                  </a:txBody>
                  <a:tcPr marL="65365" marR="65365" marT="32683" marB="3268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57557">
                <a:tc>
                  <a:txBody>
                    <a:bodyPr/>
                    <a:lstStyle/>
                    <a:p>
                      <a:endParaRPr lang="de-DE" sz="1300"/>
                    </a:p>
                  </a:txBody>
                  <a:tcPr marL="65365" marR="65365" marT="32683" marB="32683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300" dirty="0" smtClean="0"/>
                        <a:t>User </a:t>
                      </a:r>
                      <a:r>
                        <a:rPr lang="de-DE" sz="1300" dirty="0" err="1" smtClean="0"/>
                        <a:t>can</a:t>
                      </a:r>
                      <a:r>
                        <a:rPr lang="de-DE" sz="1300" dirty="0" smtClean="0"/>
                        <a:t> </a:t>
                      </a:r>
                      <a:r>
                        <a:rPr lang="de-DE" sz="1300" dirty="0" err="1" smtClean="0"/>
                        <a:t>see</a:t>
                      </a:r>
                      <a:r>
                        <a:rPr lang="de-DE" sz="1300" dirty="0" smtClean="0"/>
                        <a:t> but </a:t>
                      </a:r>
                      <a:r>
                        <a:rPr lang="de-DE" sz="1300" dirty="0" err="1" smtClean="0"/>
                        <a:t>cant</a:t>
                      </a:r>
                      <a:r>
                        <a:rPr lang="de-DE" sz="1300" dirty="0" smtClean="0"/>
                        <a:t> </a:t>
                      </a:r>
                      <a:r>
                        <a:rPr lang="de-DE" sz="1300" dirty="0" err="1" smtClean="0"/>
                        <a:t>interact</a:t>
                      </a:r>
                      <a:endParaRPr lang="de-DE" sz="1300" dirty="0"/>
                    </a:p>
                  </a:txBody>
                  <a:tcPr marL="65365" marR="65365" marT="32683" marB="3268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57557">
                <a:tc>
                  <a:txBody>
                    <a:bodyPr/>
                    <a:lstStyle/>
                    <a:p>
                      <a:endParaRPr lang="de-DE" sz="1300"/>
                    </a:p>
                  </a:txBody>
                  <a:tcPr marL="65365" marR="65365" marT="32683" marB="32683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300" dirty="0" smtClean="0"/>
                        <a:t>Stärkere Belastung des Servers</a:t>
                      </a:r>
                      <a:endParaRPr lang="de-DE" sz="1300" dirty="0"/>
                    </a:p>
                  </a:txBody>
                  <a:tcPr marL="65365" marR="65365" marT="32683" marB="3268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28919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">
            <a:extLst>
              <a:ext uri="{FF2B5EF4-FFF2-40B4-BE49-F238E27FC236}">
                <a16:creationId xmlns:a16="http://schemas.microsoft.com/office/drawing/2014/main" xmlns="" id="{02E1418F-13E9-4DD1-A436-757FB376FACC}"/>
              </a:ext>
            </a:extLst>
          </p:cNvPr>
          <p:cNvSpPr txBox="1">
            <a:spLocks/>
          </p:cNvSpPr>
          <p:nvPr/>
        </p:nvSpPr>
        <p:spPr>
          <a:xfrm>
            <a:off x="214313" y="-162797"/>
            <a:ext cx="8715375" cy="40888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de-DE" sz="1800" dirty="0">
              <a:solidFill>
                <a:schemeClr val="accent1"/>
              </a:solidFill>
            </a:endParaRPr>
          </a:p>
        </p:txBody>
      </p:sp>
      <p:sp>
        <p:nvSpPr>
          <p:cNvPr id="23" name="Titel 22">
            <a:extLst>
              <a:ext uri="{FF2B5EF4-FFF2-40B4-BE49-F238E27FC236}">
                <a16:creationId xmlns:a16="http://schemas.microsoft.com/office/drawing/2014/main" xmlns="" id="{0F8728F2-FADF-46A9-8EB9-8EDE7B5674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cs typeface="Calibri" pitchFamily="34" charset="0"/>
              </a:rPr>
              <a:t>Server Side Rendering | Alternativen</a:t>
            </a:r>
            <a:endParaRPr lang="de-DE" b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xmlns="" id="{EFD70B09-D19F-48AE-BC9B-E7FCFD3657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4282" y="808039"/>
            <a:ext cx="8505408" cy="3857624"/>
          </a:xfrm>
        </p:spPr>
        <p:txBody>
          <a:bodyPr/>
          <a:lstStyle/>
          <a:p>
            <a:r>
              <a:rPr lang="de-DE" dirty="0" err="1"/>
              <a:t>Prerendering</a:t>
            </a:r>
            <a:r>
              <a:rPr lang="de-DE" dirty="0"/>
              <a:t>, like </a:t>
            </a:r>
            <a:r>
              <a:rPr lang="de-DE" dirty="0" err="1"/>
              <a:t>react-snap</a:t>
            </a:r>
            <a:r>
              <a:rPr lang="de-DE" dirty="0"/>
              <a:t>, </a:t>
            </a:r>
            <a:r>
              <a:rPr lang="de-DE" dirty="0" err="1"/>
              <a:t>react-static</a:t>
            </a:r>
            <a:r>
              <a:rPr lang="de-DE" dirty="0"/>
              <a:t>, </a:t>
            </a:r>
            <a:r>
              <a:rPr lang="de-DE" dirty="0" err="1"/>
              <a:t>gatsby</a:t>
            </a:r>
            <a:r>
              <a:rPr lang="de-DE" dirty="0"/>
              <a:t> etc.</a:t>
            </a:r>
          </a:p>
          <a:p>
            <a:r>
              <a:rPr lang="de-DE" dirty="0" err="1"/>
              <a:t>Prerendering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emand</a:t>
            </a:r>
            <a:r>
              <a:rPr lang="de-DE" dirty="0"/>
              <a:t>, like </a:t>
            </a:r>
            <a:r>
              <a:rPr lang="de-DE" dirty="0" err="1"/>
              <a:t>rendertron</a:t>
            </a:r>
            <a:r>
              <a:rPr lang="de-DE" dirty="0"/>
              <a:t>, </a:t>
            </a:r>
            <a:r>
              <a:rPr lang="de-DE" dirty="0" err="1"/>
              <a:t>puppetron</a:t>
            </a:r>
            <a:r>
              <a:rPr lang="de-DE" dirty="0"/>
              <a:t>, </a:t>
            </a:r>
            <a:r>
              <a:rPr lang="de-DE" dirty="0" err="1"/>
              <a:t>pupperender</a:t>
            </a:r>
            <a:r>
              <a:rPr lang="de-DE" dirty="0"/>
              <a:t> etc.</a:t>
            </a:r>
          </a:p>
        </p:txBody>
      </p:sp>
      <p:sp>
        <p:nvSpPr>
          <p:cNvPr id="2" name="AutoShape 2" descr="data:image/png;base64,iVBORw0KGgoAAAANSUhEUgAAAQIAAADDCAMAAABeUu/HAAAAeFBMVEX////wuQvvtQDvtADwuAD77M7xwDb99eH+/PL103r43p777MXwuhn21YH22I3768vzxlb0zWf//vn55bL0zWj214f88+H10nf54qv0y2H44KTzx0n10HHusADzx0/11H7ywz733Jnxvyv889r66L3++ev66sD33JTb1mduAAAK4klEQVR4nO3d6XaqOhQAYAhxOK1Wi/WqrbbW4fT93/CiJGEn2TsJnrZCYP/oWkWG8BkygSFJ+uijj/vH570TcPd43r3cOwl3jmeWsm4bFAJptw2uAp02EAIdNlACnTUAAh010AQ6aWAIdNDAEuicASLQMQNUoFMGhEBh8HzvpP1SkAKdMXAIdMTAKdAJA49ABwy8AtEbBAhEbhAkELVBoEDEBsEC0RrUEIjUYFNHIEqDmgIRGtQWiM7gBoHIDG4SiMrAJcA5dxhs7p30bwqXAHtP3l0fx2HgEUjiN/AKRG8QIBC5QZBA1AaBAhEbBAtEa1BDIFKDWgJRGjgF5sgG0RksdjUF3Aa70y+n/zviIaspkCRz0iB7/dW0f1dQBqQAbdBSgSR5RQ0cApRBawVwA6cAbsDaK1AYWCfkEcAMWpwHLmHmA6+AbdDqPHAJPR8ECJgGrRfQ80GQgG4QgQDMB4EC0KB95cB4jCyU+QBv5C6whdIAzQPoQZoS+f6QI4tLA1xguptii0sDNA/kB7uL1ZjI94wPKQNCIEsz0gAXGPLgC+rXI9/zNKUMSIGUMNgwSqBGofLLcRUgDdBET8tSgsgHpEBTDYQAZYDFVNaXuAF2kCGvWbn8YiiBcINp1WIINFACTTQAAqEGU9h2DjIAAs0z0ATCDKZ67yHAQBNomoEhEGLwYfajvQaGADoEe7ewBPwGloDXwBJolIEt4DNABDwGiECDDPCBX5cBKuA0GGMCjTGghr5pgydqbDn7ILYgBBpiQA/+8yHepfsiR9cpA1KgEQaO80mzP9gWA8c9lnQ3wzZZOQ6yu/+IwguZC6ibYGtHLljjm9A351ho2/ongzKgbwOSBpQAbdAIAcrAdSOUMKAFKIOGCOAG7lvBqIFLADdojABm4LsZjhi4BTCDBgkkyda8/eF9HMAy8AnYBo0SMA1CHogwDPwCpgFb/nuyvzWgQdgjIZpBiIBu0DgBaBD6UAwwCBOABg0UqAxwAay/oAxQAbSHIQ0aKSANcIHVBOsvCANUYDxZYTsqDdj2XxL6g3ExIAQYP5AGGXZPbXzgDO1iXAwaK3AxoASKfiNlQAkUZ0oYNFigaCORAqTBjhQoDPBrockCeKxEEYYbHJFlQoAyaF2sVEWGG9ihBCIxWIHmTJgBEIjCYKU1akMMxhP9jknbDcz+E0fbBzAMgdYbmAJ+A0ug5Qa2gM8AEWh0S8gXmIDbABVosQEu4DIgBFprQAnQBqRASw1eHXdMcAOHQCPumNSPFZkLcAOnQEtrhXoGMQrUMxinLgG019yKcBqk0CBWgST5E2gQr0CoQcwCYQZxC4QYOAXIZ2/aFD6D+AXI58tKg8nR1R6IRMBjwLog4DZwREQCNxpEJXCTQfDvNNoStQ2iE6htEKGA9RuMDgrUMohUoIZBtALBBhELBBpELRBkELlAgEH0Al6DDgh4DLJmPk/43eEw6IiAw6AzAkmyJH6V0h0BwqBTAqhBxwQQg84JWAYdFDAMOimgGXRUABh0VkAZdFhAGHRa4GrQcYHCYNd1gSRp4yzXffTRRx999NFHH3300UcfffTRRx999NFHH338VIzL+N6d5qPTYr1eLx7PtTcdTIZG7OerhZ2+5eH64WFULRqXmx7MadpO5aqTR/yID7vsEjvi49dya2si6Zdy+R7bJl/MecZETF7+Gh9/HsxzlDG5TKg3y7gdjD2PjN38YeUnkEBsmhnrLspVM+IcxW/SODGR9YM4kPnxvDxYigB8ab/yKrZNP7UVnhhyjmUaL9Az/HeEnD0YBOVBdAKxbqpPTrgod8lwgr/qhrKpLAnKj9mTSXA91sTa4MTtiXPYBM6r/US/rjOnCYpPv0IJUq6/scJN8C6/MI4/aSoJzO0pgm2G/c6Pw+TfSpBm2s0uF0GaaRnPSTCqnqxg6MyWioBzrWQjCMh56bOX2gTy8qggD8EEaTYIJfhTHYChU54qgpTv/QTwtXt68ll9gomIqmjRyjM3AeegAHcR5LDcsq9rjSBl8KeKKEF1ckWyh/PN24TJuQXf7LXcxWGR3ryM8+wdK5DcBFr57iLQ3jGJrgEItGsRIxioFLD9qfwSjstrTuDwjXaCgA3GZlwvNUkAS9BnUW3BSSw9BNDLRSBm8hN/sRf/PGhI1eEwAvmbb87A5JnjLSv2D8sRQZD9hxwugbmgihGzU+gjAJeNg+AxE7mUk4nSCPjQRbBWlYc+eWZRTWoLbiAYiy8JzinlJUhVAe4gKGtEvj8LCuQZE40AzGuFEMjJIa1G2FFfcAPBWZwunFIqgGDvJRA1YpFtRTZgPoIqETaBLAmY7wfeNxAsmXW6ztYh15NCE0xF9sqTk1jHrhclgaw6ZJ62CZbyuL53dQUSVBX7+UMUBc9wPZqAv8hSSRTgJIGoEa/TeQsMu14UBFzOAMInOUEgXqTDvXNfPSFfqU3A59syNgfRLjAaZw6Cpaqbyk9JgleQFPnNWCs9yJXkXHmiYrIJ5HVAdMcsAj4x4k0jAM0GmQ/1UtZBME0+1VzHToKy+CqbELJAtOpFQVB0otR0yJ8ogWxqZ96RB6ppNNQJjOAb4wJzEoj0iVYpRSBqRFZ258UmmTnEIQmOyUgVBwOMYCBPzCdANZB9BIcH3cBNkMvS6zLNPUUgasRUA7HqxYogWaje+BghmP0wQdHgSrVTcBMkR1UcHCkCWSPKXqwcOqEJ1KRIl2vn5wm4WRgUXW5YY3kIVOO/SCNBIGtEeemu8XoREqgXFRbNb4vgKI6YfRMB37+JGFZ9RVhc+wiSZ2nwckIJRI3ID+vXMr7kAgfBWbU5ZhuTQDZLGDa1PEpgFocHjYDBDv/gjVmp8xJUBbj46gwClU3kMKfqk+vvjtMIkr8qc+2tSlGrMAII2DE3QifARqngSIifYKQGX1Jsl3C2dy24/lYFnaDKxHZbakM2r3CCOg1kdZ2BMVQ/gSrAU4zg0fFTZa1eNAiqsUbrfGVHkWGvmfhnAruvGEBgzGqn73JOZQJzrNgkGHO4JSSo+ihWJ0EvHm4iOLNbCBLt9ZfYEAQeWrVmEqgmkEWQvMiWrHnPYau/f+Qmgq/bCM7wG9N2KWtEpodYE9aLFoFqflsEajSavcN8MBoyve9Ru6cIDgoK2yAC7YqHBFaNKOpFu+ZBCOBFpJd9ao5dztXXnj9d6xp4dElA3G6U7YLtl4zls7o9A+qrMALYCoGJkH1Ec3hgaNU8GEFezQtpFP9VO47xj8Vs9viwUVmrOrzsKW4/zNiOEtA6VJmTo8cLJJDDQQaBHDU1yy3RkIT1IkKgGoIWwbHKdZxrrY003ak9OAbRZ4nrbpL+YqtQgqoABwQzsaY9uCEbuVUexQiq962ZjQC6rs2qeoa+lXK9/h0ELGz41Lg3qApwQCAuZqQpK4pJUC+iBOpdA1Y7aIZPHcozMPB5KwHXJ9gJJpC1CSCQg/J7S0AV6lW9iBOoS8lqCp4PyBkwHnZn2UHAWbbX6ogaBOo7VwTyq8ZacXIoWRWUBIFkRFrDr8zICTxbaYWOj2DHkBg+mXl2Wz7FsYME5abWW7Xz9LruTj7sMZblLDbSexI7Uaf2WS7YmQkQK2KjA/l6kqmnKIpVPozab4me4/Uol8wyng2swEZaR+V6M3AauVhkrX6+fjAba/8OBminVuyk2vF/9oHKEInDdlIk7/Vjs9/v3+arT3uNkX2KImbf/MRTH320Nf4H1AmkAG2n31QAAAAASUVORK5CYII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4699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">
            <a:extLst>
              <a:ext uri="{FF2B5EF4-FFF2-40B4-BE49-F238E27FC236}">
                <a16:creationId xmlns:a16="http://schemas.microsoft.com/office/drawing/2014/main" xmlns="" id="{02E1418F-13E9-4DD1-A436-757FB376FACC}"/>
              </a:ext>
            </a:extLst>
          </p:cNvPr>
          <p:cNvSpPr txBox="1">
            <a:spLocks/>
          </p:cNvSpPr>
          <p:nvPr/>
        </p:nvSpPr>
        <p:spPr>
          <a:xfrm>
            <a:off x="214313" y="-162797"/>
            <a:ext cx="8715375" cy="40888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de-DE" sz="1800" dirty="0">
              <a:solidFill>
                <a:schemeClr val="accent1"/>
              </a:solidFill>
            </a:endParaRPr>
          </a:p>
        </p:txBody>
      </p:sp>
      <p:pic>
        <p:nvPicPr>
          <p:cNvPr id="6" name="Picture 2" descr="https://upload.wikimedia.org/wikipedia/commons/thumb/8/8e/Nextjs-logo.svg/1280px-Nextjs-logo.svg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000" y="1334589"/>
            <a:ext cx="2880000" cy="172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1408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">
            <a:extLst>
              <a:ext uri="{FF2B5EF4-FFF2-40B4-BE49-F238E27FC236}">
                <a16:creationId xmlns:a16="http://schemas.microsoft.com/office/drawing/2014/main" xmlns="" id="{02E1418F-13E9-4DD1-A436-757FB376FACC}"/>
              </a:ext>
            </a:extLst>
          </p:cNvPr>
          <p:cNvSpPr txBox="1">
            <a:spLocks/>
          </p:cNvSpPr>
          <p:nvPr/>
        </p:nvSpPr>
        <p:spPr>
          <a:xfrm>
            <a:off x="214313" y="-162797"/>
            <a:ext cx="8715375" cy="40888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de-DE" sz="1800" dirty="0">
              <a:solidFill>
                <a:schemeClr val="accent1"/>
              </a:solidFill>
            </a:endParaRPr>
          </a:p>
        </p:txBody>
      </p:sp>
      <p:sp>
        <p:nvSpPr>
          <p:cNvPr id="23" name="Titel 22">
            <a:extLst>
              <a:ext uri="{FF2B5EF4-FFF2-40B4-BE49-F238E27FC236}">
                <a16:creationId xmlns:a16="http://schemas.microsoft.com/office/drawing/2014/main" xmlns="" id="{0F8728F2-FADF-46A9-8EB9-8EDE7B5674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cs typeface="Calibri" pitchFamily="34" charset="0"/>
              </a:rPr>
              <a:t>Über </a:t>
            </a:r>
            <a:r>
              <a:rPr lang="de-DE" dirty="0" err="1" smtClean="0">
                <a:cs typeface="Calibri" pitchFamily="34" charset="0"/>
              </a:rPr>
              <a:t>NextJS</a:t>
            </a:r>
            <a:endParaRPr lang="de-DE" b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xmlns="" id="{EFD70B09-D19F-48AE-BC9B-E7FCFD3657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4282" y="808039"/>
            <a:ext cx="8505408" cy="385762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Server Side Render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Easy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use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Automatic</a:t>
            </a:r>
            <a:r>
              <a:rPr lang="de-DE" dirty="0" smtClean="0"/>
              <a:t> Code Split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Prefetching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Hot Code </a:t>
            </a:r>
            <a:r>
              <a:rPr lang="de-DE" dirty="0" err="1" smtClean="0"/>
              <a:t>Reloading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Simple Client Rou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Hot Module </a:t>
            </a:r>
            <a:r>
              <a:rPr lang="de-DE" dirty="0" err="1" smtClean="0"/>
              <a:t>Replacement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Implements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any</a:t>
            </a:r>
            <a:r>
              <a:rPr lang="de-DE" dirty="0" smtClean="0"/>
              <a:t> </a:t>
            </a:r>
            <a:r>
              <a:rPr lang="de-DE" dirty="0" err="1" smtClean="0"/>
              <a:t>NodeJS</a:t>
            </a:r>
            <a:r>
              <a:rPr lang="de-DE" dirty="0" smtClean="0"/>
              <a:t> HTTP Serv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Customizable</a:t>
            </a:r>
            <a:r>
              <a:rPr lang="de-DE" dirty="0" smtClean="0"/>
              <a:t> </a:t>
            </a:r>
            <a:r>
              <a:rPr lang="de-DE" dirty="0" err="1" smtClean="0"/>
              <a:t>Builds</a:t>
            </a:r>
            <a:endParaRPr lang="de-DE" dirty="0" smtClean="0"/>
          </a:p>
        </p:txBody>
      </p:sp>
      <p:sp>
        <p:nvSpPr>
          <p:cNvPr id="2" name="AutoShape 2" descr="data:image/png;base64,iVBORw0KGgoAAAANSUhEUgAAAQIAAADDCAMAAABeUu/HAAAAeFBMVEX////wuQvvtQDvtADwuAD77M7xwDb99eH+/PL103r43p777MXwuhn21YH22I3768vzxlb0zWf//vn55bL0zWj214f88+H10nf54qv0y2H44KTzx0n10HHusADzx0/11H7ywz733Jnxvyv889r66L3++ev66sD33JTb1mduAAAK4klEQVR4nO3d6XaqOhQAYAhxOK1Wi/WqrbbW4fT93/CiJGEn2TsJnrZCYP/oWkWG8BkygSFJ+uijj/vH570TcPd43r3cOwl3jmeWsm4bFAJptw2uAp02EAIdNlACnTUAAh010AQ6aWAIdNDAEuicASLQMQNUoFMGhEBh8HzvpP1SkAKdMXAIdMTAKdAJA49ABwy8AtEbBAhEbhAkELVBoEDEBsEC0RrUEIjUYFNHIEqDmgIRGtQWiM7gBoHIDG4SiMrAJcA5dxhs7p30bwqXAHtP3l0fx2HgEUjiN/AKRG8QIBC5QZBA1AaBAhEbBAtEa1BDIFKDWgJRGjgF5sgG0RksdjUF3Aa70y+n/zviIaspkCRz0iB7/dW0f1dQBqQAbdBSgSR5RQ0cApRBawVwA6cAbsDaK1AYWCfkEcAMWpwHLmHmA6+AbdDqPHAJPR8ECJgGrRfQ80GQgG4QgQDMB4EC0KB95cB4jCyU+QBv5C6whdIAzQPoQZoS+f6QI4tLA1xguptii0sDNA/kB7uL1ZjI94wPKQNCIEsz0gAXGPLgC+rXI9/zNKUMSIGUMNgwSqBGofLLcRUgDdBET8tSgsgHpEBTDYQAZYDFVNaXuAF2kCGvWbn8YiiBcINp1WIINFACTTQAAqEGU9h2DjIAAs0z0ATCDKZ67yHAQBNomoEhEGLwYfajvQaGADoEe7ewBPwGloDXwBJolIEt4DNABDwGiECDDPCBX5cBKuA0GGMCjTGghr5pgydqbDn7ILYgBBpiQA/+8yHepfsiR9cpA1KgEQaO80mzP9gWA8c9lnQ3wzZZOQ6yu/+IwguZC6ibYGtHLljjm9A351ho2/ongzKgbwOSBpQAbdAIAcrAdSOUMKAFKIOGCOAG7lvBqIFLADdojABm4LsZjhi4BTCDBgkkyda8/eF9HMAy8AnYBo0SMA1CHogwDPwCpgFb/nuyvzWgQdgjIZpBiIBu0DgBaBD6UAwwCBOABg0UqAxwAay/oAxQAbSHIQ0aKSANcIHVBOsvCANUYDxZYTsqDdj2XxL6g3ExIAQYP5AGGXZPbXzgDO1iXAwaK3AxoASKfiNlQAkUZ0oYNFigaCORAqTBjhQoDPBrockCeKxEEYYbHJFlQoAyaF2sVEWGG9ihBCIxWIHmTJgBEIjCYKU1akMMxhP9jknbDcz+E0fbBzAMgdYbmAJ+A0ug5Qa2gM8AEWh0S8gXmIDbABVosQEu4DIgBFprQAnQBqRASw1eHXdMcAOHQCPumNSPFZkLcAOnQEtrhXoGMQrUMxinLgG019yKcBqk0CBWgST5E2gQr0CoQcwCYQZxC4QYOAXIZ2/aFD6D+AXI58tKg8nR1R6IRMBjwLog4DZwREQCNxpEJXCTQfDvNNoStQ2iE6htEKGA9RuMDgrUMohUoIZBtALBBhELBBpELRBkELlAgEH0Al6DDgh4DLJmPk/43eEw6IiAw6AzAkmyJH6V0h0BwqBTAqhBxwQQg84JWAYdFDAMOimgGXRUABh0VkAZdFhAGHRa4GrQcYHCYNd1gSRp4yzXffTRRx999NFHH3300UcfffTRRx999NFHH338VIzL+N6d5qPTYr1eLx7PtTcdTIZG7OerhZ2+5eH64WFULRqXmx7MadpO5aqTR/yID7vsEjvi49dya2si6Zdy+R7bJl/MecZETF7+Gh9/HsxzlDG5TKg3y7gdjD2PjN38YeUnkEBsmhnrLspVM+IcxW/SODGR9YM4kPnxvDxYigB8ab/yKrZNP7UVnhhyjmUaL9Az/HeEnD0YBOVBdAKxbqpPTrgod8lwgr/qhrKpLAnKj9mTSXA91sTa4MTtiXPYBM6r/US/rjOnCYpPv0IJUq6/scJN8C6/MI4/aSoJzO0pgm2G/c6Pw+TfSpBm2s0uF0GaaRnPSTCqnqxg6MyWioBzrWQjCMh56bOX2gTy8qggD8EEaTYIJfhTHYChU54qgpTv/QTwtXt68ll9gomIqmjRyjM3AeegAHcR5LDcsq9rjSBl8KeKKEF1ckWyh/PN24TJuQXf7LXcxWGR3ryM8+wdK5DcBFr57iLQ3jGJrgEItGsRIxioFLD9qfwSjstrTuDwjXaCgA3GZlwvNUkAS9BnUW3BSSw9BNDLRSBm8hN/sRf/PGhI1eEwAvmbb87A5JnjLSv2D8sRQZD9hxwugbmgihGzU+gjAJeNg+AxE7mUk4nSCPjQRbBWlYc+eWZRTWoLbiAYiy8JzinlJUhVAe4gKGtEvj8LCuQZE40AzGuFEMjJIa1G2FFfcAPBWZwunFIqgGDvJRA1YpFtRTZgPoIqETaBLAmY7wfeNxAsmXW6ztYh15NCE0xF9sqTk1jHrhclgaw6ZJ62CZbyuL53dQUSVBX7+UMUBc9wPZqAv8hSSRTgJIGoEa/TeQsMu14UBFzOAMInOUEgXqTDvXNfPSFfqU3A59syNgfRLjAaZw6Cpaqbyk9JgleQFPnNWCs9yJXkXHmiYrIJ5HVAdMcsAj4x4k0jAM0GmQ/1UtZBME0+1VzHToKy+CqbELJAtOpFQVB0otR0yJ8ogWxqZ96RB6ppNNQJjOAb4wJzEoj0iVYpRSBqRFZ258UmmTnEIQmOyUgVBwOMYCBPzCdANZB9BIcH3cBNkMvS6zLNPUUgasRUA7HqxYogWaje+BghmP0wQdHgSrVTcBMkR1UcHCkCWSPKXqwcOqEJ1KRIl2vn5wm4WRgUXW5YY3kIVOO/SCNBIGtEeemu8XoREqgXFRbNb4vgKI6YfRMB37+JGFZ9RVhc+wiSZ2nwckIJRI3ID+vXMr7kAgfBWbU5ZhuTQDZLGDa1PEpgFocHjYDBDv/gjVmp8xJUBbj46gwClU3kMKfqk+vvjtMIkr8qc+2tSlGrMAII2DE3QifARqngSIifYKQGX1Jsl3C2dy24/lYFnaDKxHZbakM2r3CCOg1kdZ2BMVQ/gSrAU4zg0fFTZa1eNAiqsUbrfGVHkWGvmfhnAruvGEBgzGqn73JOZQJzrNgkGHO4JSSo+ihWJ0EvHm4iOLNbCBLt9ZfYEAQeWrVmEqgmkEWQvMiWrHnPYau/f+Qmgq/bCM7wG9N2KWtEpodYE9aLFoFqflsEajSavcN8MBoyve9Ru6cIDgoK2yAC7YqHBFaNKOpFu+ZBCOBFpJd9ao5dztXXnj9d6xp4dElA3G6U7YLtl4zls7o9A+qrMALYCoGJkH1Ec3hgaNU8GEFezQtpFP9VO47xj8Vs9viwUVmrOrzsKW4/zNiOEtA6VJmTo8cLJJDDQQaBHDU1yy3RkIT1IkKgGoIWwbHKdZxrrY003ak9OAbRZ4nrbpL+YqtQgqoABwQzsaY9uCEbuVUexQiq962ZjQC6rs2qeoa+lXK9/h0ELGz41Lg3qApwQCAuZqQpK4pJUC+iBOpdA1Y7aIZPHcozMPB5KwHXJ9gJJpC1CSCQg/J7S0AV6lW9iBOoS8lqCp4PyBkwHnZn2UHAWbbX6ogaBOo7VwTyq8ZacXIoWRWUBIFkRFrDr8zICTxbaYWOj2DHkBg+mXl2Wz7FsYME5abWW7Xz9LruTj7sMZblLDbSexI7Uaf2WS7YmQkQK2KjA/l6kqmnKIpVPozab4me4/Uol8wyng2swEZaR+V6M3AauVhkrX6+fjAba/8OBminVuyk2vF/9oHKEInDdlIk7/Vjs9/v3+arT3uNkX2KImbf/MRTH320Nf4H1AmkAG2n31QAAAAASUVORK5CYII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7909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">
            <a:extLst>
              <a:ext uri="{FF2B5EF4-FFF2-40B4-BE49-F238E27FC236}">
                <a16:creationId xmlns:a16="http://schemas.microsoft.com/office/drawing/2014/main" xmlns="" id="{02E1418F-13E9-4DD1-A436-757FB376FACC}"/>
              </a:ext>
            </a:extLst>
          </p:cNvPr>
          <p:cNvSpPr txBox="1">
            <a:spLocks/>
          </p:cNvSpPr>
          <p:nvPr/>
        </p:nvSpPr>
        <p:spPr>
          <a:xfrm>
            <a:off x="214313" y="-162797"/>
            <a:ext cx="8715375" cy="40888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de-DE" sz="1800" dirty="0">
              <a:solidFill>
                <a:schemeClr val="accent1"/>
              </a:solidFill>
            </a:endParaRPr>
          </a:p>
        </p:txBody>
      </p:sp>
      <p:sp>
        <p:nvSpPr>
          <p:cNvPr id="23" name="Titel 22">
            <a:extLst>
              <a:ext uri="{FF2B5EF4-FFF2-40B4-BE49-F238E27FC236}">
                <a16:creationId xmlns:a16="http://schemas.microsoft.com/office/drawing/2014/main" xmlns="" id="{0F8728F2-FADF-46A9-8EB9-8EDE7B5674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cs typeface="Calibri" pitchFamily="34" charset="0"/>
              </a:rPr>
              <a:t>Anwender</a:t>
            </a:r>
            <a:endParaRPr lang="de-DE" b="0" dirty="0"/>
          </a:p>
        </p:txBody>
      </p:sp>
      <p:sp>
        <p:nvSpPr>
          <p:cNvPr id="2" name="AutoShape 2" descr="data:image/png;base64,iVBORw0KGgoAAAANSUhEUgAAAQIAAADDCAMAAABeUu/HAAAAeFBMVEX////wuQvvtQDvtADwuAD77M7xwDb99eH+/PL103r43p777MXwuhn21YH22I3768vzxlb0zWf//vn55bL0zWj214f88+H10nf54qv0y2H44KTzx0n10HHusADzx0/11H7ywz733Jnxvyv889r66L3++ev66sD33JTb1mduAAAK4klEQVR4nO3d6XaqOhQAYAhxOK1Wi/WqrbbW4fT93/CiJGEn2TsJnrZCYP/oWkWG8BkygSFJ+uijj/vH570TcPd43r3cOwl3jmeWsm4bFAJptw2uAp02EAIdNlACnTUAAh010AQ6aWAIdNDAEuicASLQMQNUoFMGhEBh8HzvpP1SkAKdMXAIdMTAKdAJA49ABwy8AtEbBAhEbhAkELVBoEDEBsEC0RrUEIjUYFNHIEqDmgIRGtQWiM7gBoHIDG4SiMrAJcA5dxhs7p30bwqXAHtP3l0fx2HgEUjiN/AKRG8QIBC5QZBA1AaBAhEbBAtEa1BDIFKDWgJRGjgF5sgG0RksdjUF3Aa70y+n/zviIaspkCRz0iB7/dW0f1dQBqQAbdBSgSR5RQ0cApRBawVwA6cAbsDaK1AYWCfkEcAMWpwHLmHmA6+AbdDqPHAJPR8ECJgGrRfQ80GQgG4QgQDMB4EC0KB95cB4jCyU+QBv5C6whdIAzQPoQZoS+f6QI4tLA1xguptii0sDNA/kB7uL1ZjI94wPKQNCIEsz0gAXGPLgC+rXI9/zNKUMSIGUMNgwSqBGofLLcRUgDdBET8tSgsgHpEBTDYQAZYDFVNaXuAF2kCGvWbn8YiiBcINp1WIINFACTTQAAqEGU9h2DjIAAs0z0ATCDKZ67yHAQBNomoEhEGLwYfajvQaGADoEe7ewBPwGloDXwBJolIEt4DNABDwGiECDDPCBX5cBKuA0GGMCjTGghr5pgydqbDn7ILYgBBpiQA/+8yHepfsiR9cpA1KgEQaO80mzP9gWA8c9lnQ3wzZZOQ6yu/+IwguZC6ibYGtHLljjm9A351ho2/ongzKgbwOSBpQAbdAIAcrAdSOUMKAFKIOGCOAG7lvBqIFLADdojABm4LsZjhi4BTCDBgkkyda8/eF9HMAy8AnYBo0SMA1CHogwDPwCpgFb/nuyvzWgQdgjIZpBiIBu0DgBaBD6UAwwCBOABg0UqAxwAay/oAxQAbSHIQ0aKSANcIHVBOsvCANUYDxZYTsqDdj2XxL6g3ExIAQYP5AGGXZPbXzgDO1iXAwaK3AxoASKfiNlQAkUZ0oYNFigaCORAqTBjhQoDPBrockCeKxEEYYbHJFlQoAyaF2sVEWGG9ihBCIxWIHmTJgBEIjCYKU1akMMxhP9jknbDcz+E0fbBzAMgdYbmAJ+A0ug5Qa2gM8AEWh0S8gXmIDbABVosQEu4DIgBFprQAnQBqRASw1eHXdMcAOHQCPumNSPFZkLcAOnQEtrhXoGMQrUMxinLgG019yKcBqk0CBWgST5E2gQr0CoQcwCYQZxC4QYOAXIZ2/aFD6D+AXI58tKg8nR1R6IRMBjwLog4DZwREQCNxpEJXCTQfDvNNoStQ2iE6htEKGA9RuMDgrUMohUoIZBtALBBhELBBpELRBkELlAgEH0Al6DDgh4DLJmPk/43eEw6IiAw6AzAkmyJH6V0h0BwqBTAqhBxwQQg84JWAYdFDAMOimgGXRUABh0VkAZdFhAGHRa4GrQcYHCYNd1gSRp4yzXffTRRx999NFHH3300UcfffTRRx999NFHH338VIzL+N6d5qPTYr1eLx7PtTcdTIZG7OerhZ2+5eH64WFULRqXmx7MadpO5aqTR/yID7vsEjvi49dya2si6Zdy+R7bJl/MecZETF7+Gh9/HsxzlDG5TKg3y7gdjD2PjN38YeUnkEBsmhnrLspVM+IcxW/SODGR9YM4kPnxvDxYigB8ab/yKrZNP7UVnhhyjmUaL9Az/HeEnD0YBOVBdAKxbqpPTrgod8lwgr/qhrKpLAnKj9mTSXA91sTa4MTtiXPYBM6r/US/rjOnCYpPv0IJUq6/scJN8C6/MI4/aSoJzO0pgm2G/c6Pw+TfSpBm2s0uF0GaaRnPSTCqnqxg6MyWioBzrWQjCMh56bOX2gTy8qggD8EEaTYIJfhTHYChU54qgpTv/QTwtXt68ll9gomIqmjRyjM3AeegAHcR5LDcsq9rjSBl8KeKKEF1ckWyh/PN24TJuQXf7LXcxWGR3ryM8+wdK5DcBFr57iLQ3jGJrgEItGsRIxioFLD9qfwSjstrTuDwjXaCgA3GZlwvNUkAS9BnUW3BSSw9BNDLRSBm8hN/sRf/PGhI1eEwAvmbb87A5JnjLSv2D8sRQZD9hxwugbmgihGzU+gjAJeNg+AxE7mUk4nSCPjQRbBWlYc+eWZRTWoLbiAYiy8JzinlJUhVAe4gKGtEvj8LCuQZE40AzGuFEMjJIa1G2FFfcAPBWZwunFIqgGDvJRA1YpFtRTZgPoIqETaBLAmY7wfeNxAsmXW6ztYh15NCE0xF9sqTk1jHrhclgaw6ZJ62CZbyuL53dQUSVBX7+UMUBc9wPZqAv8hSSRTgJIGoEa/TeQsMu14UBFzOAMInOUEgXqTDvXNfPSFfqU3A59syNgfRLjAaZw6Cpaqbyk9JgleQFPnNWCs9yJXkXHmiYrIJ5HVAdMcsAj4x4k0jAM0GmQ/1UtZBME0+1VzHToKy+CqbELJAtOpFQVB0otR0yJ8ogWxqZ96RB6ppNNQJjOAb4wJzEoj0iVYpRSBqRFZ258UmmTnEIQmOyUgVBwOMYCBPzCdANZB9BIcH3cBNkMvS6zLNPUUgasRUA7HqxYogWaje+BghmP0wQdHgSrVTcBMkR1UcHCkCWSPKXqwcOqEJ1KRIl2vn5wm4WRgUXW5YY3kIVOO/SCNBIGtEeemu8XoREqgXFRbNb4vgKI6YfRMB37+JGFZ9RVhc+wiSZ2nwckIJRI3ID+vXMr7kAgfBWbU5ZhuTQDZLGDa1PEpgFocHjYDBDv/gjVmp8xJUBbj46gwClU3kMKfqk+vvjtMIkr8qc+2tSlGrMAII2DE3QifARqngSIifYKQGX1Jsl3C2dy24/lYFnaDKxHZbakM2r3CCOg1kdZ2BMVQ/gSrAU4zg0fFTZa1eNAiqsUbrfGVHkWGvmfhnAruvGEBgzGqn73JOZQJzrNgkGHO4JSSo+ihWJ0EvHm4iOLNbCBLt9ZfYEAQeWrVmEqgmkEWQvMiWrHnPYau/f+Qmgq/bCM7wG9N2KWtEpodYE9aLFoFqflsEajSavcN8MBoyve9Ru6cIDgoK2yAC7YqHBFaNKOpFu+ZBCOBFpJd9ao5dztXXnj9d6xp4dElA3G6U7YLtl4zls7o9A+qrMALYCoGJkH1Ec3hgaNU8GEFezQtpFP9VO47xj8Vs9viwUVmrOrzsKW4/zNiOEtA6VJmTo8cLJJDDQQaBHDU1yy3RkIT1IkKgGoIWwbHKdZxrrY003ak9OAbRZ4nrbpL+YqtQgqoABwQzsaY9uCEbuVUexQiq962ZjQC6rs2qeoa+lXK9/h0ELGz41Lg3qApwQCAuZqQpK4pJUC+iBOpdA1Y7aIZPHcozMPB5KwHXJ9gJJpC1CSCQg/J7S0AV6lW9iBOoS8lqCp4PyBkwHnZn2UHAWbbX6ogaBOo7VwTyq8ZacXIoWRWUBIFkRFrDr8zICTxbaYWOj2DHkBg+mXl2Wz7FsYME5abWW7Xz9LruTj7sMZblLDbSexI7Uaf2WS7YmQkQK2KjA/l6kqmnKIpVPozab4me4/Uol8wyng2swEZaR+V6M3AauVhkrX6+fjAba/8OBminVuyk2vF/9oHKEInDdlIk7/Vjs9/v3+arT3uNkX2KImbf/MRTH320Nf4H1AmkAG2n31QAAAAASUVORK5CYII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3076" name="Picture 4" descr="Bildergebnis fÃ¼r binance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1320" y="1481900"/>
            <a:ext cx="950943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Bildergebnis fÃ¼r marvel log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8800" y="3283740"/>
            <a:ext cx="159116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Bildergebnis fÃ¼r nike logo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5400" y="1651261"/>
            <a:ext cx="1080000" cy="388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Bildergebnis fÃ¼r twitch logo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170" y="1485481"/>
            <a:ext cx="128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4" name="Picture 12" descr="Bildergebnis fÃ¼r hulu logo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5318" y="1482319"/>
            <a:ext cx="1129411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6" name="Picture 14" descr="Bildergebnis fÃ¼r expo io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410" y="3295360"/>
            <a:ext cx="147456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Bildergebnis fÃ¼r audible logo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3080" y="3107740"/>
            <a:ext cx="1620000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11349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">
            <a:extLst>
              <a:ext uri="{FF2B5EF4-FFF2-40B4-BE49-F238E27FC236}">
                <a16:creationId xmlns:a16="http://schemas.microsoft.com/office/drawing/2014/main" xmlns="" id="{02E1418F-13E9-4DD1-A436-757FB376FACC}"/>
              </a:ext>
            </a:extLst>
          </p:cNvPr>
          <p:cNvSpPr txBox="1">
            <a:spLocks/>
          </p:cNvSpPr>
          <p:nvPr/>
        </p:nvSpPr>
        <p:spPr>
          <a:xfrm>
            <a:off x="214313" y="-162797"/>
            <a:ext cx="8715375" cy="40888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de-DE" sz="1800" dirty="0">
              <a:solidFill>
                <a:schemeClr val="accent1"/>
              </a:solidFill>
            </a:endParaRPr>
          </a:p>
        </p:txBody>
      </p:sp>
      <p:pic>
        <p:nvPicPr>
          <p:cNvPr id="6146" name="Picture 2" descr="https://emojipedia-us.s3.dualstack.us-west-1.amazonaws.com/thumbs/120/apple/198/male-technologist_1f468-200d-1f4bb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6151" y="1854200"/>
            <a:ext cx="719999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feld 1"/>
          <p:cNvSpPr txBox="1"/>
          <p:nvPr/>
        </p:nvSpPr>
        <p:spPr>
          <a:xfrm>
            <a:off x="3854450" y="1854200"/>
            <a:ext cx="2609850" cy="720000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r>
              <a:rPr lang="de-DE" b="1" dirty="0" err="1" smtClean="0">
                <a:solidFill>
                  <a:srgbClr val="344046"/>
                </a:solidFill>
              </a:rPr>
              <a:t>Let`s</a:t>
            </a:r>
            <a:r>
              <a:rPr lang="de-DE" b="1" dirty="0" smtClean="0">
                <a:solidFill>
                  <a:srgbClr val="344046"/>
                </a:solidFill>
              </a:rPr>
              <a:t> </a:t>
            </a:r>
            <a:r>
              <a:rPr lang="de-DE" b="1" dirty="0" err="1" smtClean="0">
                <a:solidFill>
                  <a:srgbClr val="344046"/>
                </a:solidFill>
              </a:rPr>
              <a:t>code</a:t>
            </a:r>
            <a:r>
              <a:rPr lang="de-DE" b="1" dirty="0" smtClean="0">
                <a:solidFill>
                  <a:srgbClr val="344046"/>
                </a:solidFill>
              </a:rPr>
              <a:t>!</a:t>
            </a:r>
            <a:endParaRPr lang="de-DE" b="1" dirty="0" smtClean="0">
              <a:solidFill>
                <a:srgbClr val="34404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9440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Vorlage_GB40_2019_allg">
  <a:themeElements>
    <a:clrScheme name="INFORM Software">
      <a:dk1>
        <a:srgbClr val="344046"/>
      </a:dk1>
      <a:lt1>
        <a:sysClr val="window" lastClr="FFFFFF"/>
      </a:lt1>
      <a:dk2>
        <a:srgbClr val="5A6E78"/>
      </a:dk2>
      <a:lt2>
        <a:srgbClr val="81A5B6"/>
      </a:lt2>
      <a:accent1>
        <a:srgbClr val="0091A5"/>
      </a:accent1>
      <a:accent2>
        <a:srgbClr val="BECB00"/>
      </a:accent2>
      <a:accent3>
        <a:srgbClr val="F38300"/>
      </a:accent3>
      <a:accent4>
        <a:srgbClr val="C00222"/>
      </a:accent4>
      <a:accent5>
        <a:srgbClr val="3C96D2"/>
      </a:accent5>
      <a:accent6>
        <a:srgbClr val="00546E"/>
      </a:accent6>
      <a:hlink>
        <a:srgbClr val="5A6E78"/>
      </a:hlink>
      <a:folHlink>
        <a:srgbClr val="81A5B6"/>
      </a:folHlink>
    </a:clrScheme>
    <a:fontScheme name="Infor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A3BECB"/>
        </a:solidFill>
        <a:ln w="9525">
          <a:solidFill>
            <a:srgbClr val="5A6E78"/>
          </a:solidFill>
        </a:ln>
      </a:spPr>
      <a:bodyPr rtlCol="0" anchor="ctr"/>
      <a:lstStyle>
        <a:defPPr>
          <a:defRPr sz="1400" dirty="0" err="1" smtClean="0">
            <a:solidFill>
              <a:srgbClr val="344046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noAutofit/>
      </a:bodyPr>
      <a:lstStyle>
        <a:defPPr>
          <a:defRPr dirty="0" smtClean="0">
            <a:solidFill>
              <a:srgbClr val="344046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Vorlage_GB40_2019_allg" id="{14DD758D-386E-4F27-BADB-233AF4E437AC}" vid="{C23B5E58-6611-4838-943A-650A7F6C902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Vorlage_GB40_2019_allg</Template>
  <TotalTime>0</TotalTime>
  <Words>264</Words>
  <Application>Microsoft Office PowerPoint</Application>
  <PresentationFormat>Bildschirmpräsentation (16:9)</PresentationFormat>
  <Paragraphs>74</Paragraphs>
  <Slides>8</Slides>
  <Notes>8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9" baseType="lpstr">
      <vt:lpstr>Vorlage_GB40_2019_allg</vt:lpstr>
      <vt:lpstr>PowerPoint-Präsentation</vt:lpstr>
      <vt:lpstr>Server Side Rendering</vt:lpstr>
      <vt:lpstr>Server Side Rendering | Vor- &amp; Nachteile</vt:lpstr>
      <vt:lpstr>Server Side Rendering | Alternativen</vt:lpstr>
      <vt:lpstr>PowerPoint-Präsentation</vt:lpstr>
      <vt:lpstr>Über NextJS</vt:lpstr>
      <vt:lpstr>Anwender</vt:lpstr>
      <vt:lpstr>PowerPoint-Prä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Finn Zentgraf</dc:creator>
  <cp:lastModifiedBy>Finn Zentgraf</cp:lastModifiedBy>
  <cp:revision>15</cp:revision>
  <cp:lastPrinted>2018-09-11T08:32:14Z</cp:lastPrinted>
  <dcterms:created xsi:type="dcterms:W3CDTF">2019-05-13T12:04:13Z</dcterms:created>
  <dcterms:modified xsi:type="dcterms:W3CDTF">2019-05-13T14:02:01Z</dcterms:modified>
</cp:coreProperties>
</file>